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5"/>
    <p:sldMasterId id="2147483911" r:id="rId6"/>
    <p:sldMasterId id="2147484001" r:id="rId7"/>
    <p:sldMasterId id="2147484039" r:id="rId8"/>
  </p:sldMasterIdLst>
  <p:notesMasterIdLst>
    <p:notesMasterId r:id="rId18"/>
  </p:notesMasterIdLst>
  <p:handoutMasterIdLst>
    <p:handoutMasterId r:id="rId19"/>
  </p:handoutMasterIdLst>
  <p:sldIdLst>
    <p:sldId id="932" r:id="rId9"/>
    <p:sldId id="2820" r:id="rId10"/>
    <p:sldId id="2832" r:id="rId11"/>
    <p:sldId id="2835" r:id="rId12"/>
    <p:sldId id="2833" r:id="rId13"/>
    <p:sldId id="2836" r:id="rId14"/>
    <p:sldId id="2829" r:id="rId15"/>
    <p:sldId id="2830" r:id="rId16"/>
    <p:sldId id="2831" r:id="rId17"/>
  </p:sldIdLst>
  <p:sldSz cx="9144000" cy="5143500" type="screen16x9"/>
  <p:notesSz cx="6805613" cy="9944100"/>
  <p:defaultTextStyle>
    <a:defPPr>
      <a:defRPr lang="fr-FR"/>
    </a:defPPr>
    <a:lvl1pPr algn="l" defTabSz="815680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06911" indent="128205" algn="l" defTabSz="815680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815680" indent="254553" algn="l" defTabSz="815680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222590" indent="382756" algn="l" defTabSz="815680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631359" indent="509103" algn="l" defTabSz="815680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675577" algn="l" defTabSz="1070230" rtl="0" eaLnBrk="1" latinLnBrk="0" hangingPunct="1"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3210692" algn="l" defTabSz="1070230" rtl="0" eaLnBrk="1" latinLnBrk="0" hangingPunct="1"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745806" algn="l" defTabSz="1070230" rtl="0" eaLnBrk="1" latinLnBrk="0" hangingPunct="1"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4280922" algn="l" defTabSz="1070230" rtl="0" eaLnBrk="1" latinLnBrk="0" hangingPunct="1"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Brainstorm" id="{2325C665-6BBE-4022-865C-DB00E4F78E46}">
          <p14:sldIdLst>
            <p14:sldId id="932"/>
            <p14:sldId id="2820"/>
            <p14:sldId id="2832"/>
            <p14:sldId id="2835"/>
            <p14:sldId id="2833"/>
            <p14:sldId id="2836"/>
            <p14:sldId id="2829"/>
            <p14:sldId id="2830"/>
            <p14:sldId id="2831"/>
          </p14:sldIdLst>
        </p14:section>
        <p14:section name="References" id="{E48377B1-CACE-44C4-A2F8-3F2599B7F9EE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59">
          <p15:clr>
            <a:srgbClr val="A4A3A4"/>
          </p15:clr>
        </p15:guide>
        <p15:guide id="2" orient="horz" pos="240">
          <p15:clr>
            <a:srgbClr val="A4A3A4"/>
          </p15:clr>
        </p15:guide>
        <p15:guide id="3" orient="horz" pos="4220">
          <p15:clr>
            <a:srgbClr val="A4A3A4"/>
          </p15:clr>
        </p15:guide>
        <p15:guide id="4" orient="horz" pos="34">
          <p15:clr>
            <a:srgbClr val="A4A3A4"/>
          </p15:clr>
        </p15:guide>
        <p15:guide id="5" orient="horz" pos="3486">
          <p15:clr>
            <a:srgbClr val="A4A3A4"/>
          </p15:clr>
        </p15:guide>
        <p15:guide id="6" orient="horz" pos="1026">
          <p15:clr>
            <a:srgbClr val="A4A3A4"/>
          </p15:clr>
        </p15:guide>
        <p15:guide id="7" orient="horz" pos="3788">
          <p15:clr>
            <a:srgbClr val="A4A3A4"/>
          </p15:clr>
        </p15:guide>
        <p15:guide id="8" pos="2879">
          <p15:clr>
            <a:srgbClr val="A4A3A4"/>
          </p15:clr>
        </p15:guide>
        <p15:guide id="9" pos="5641">
          <p15:clr>
            <a:srgbClr val="A4A3A4"/>
          </p15:clr>
        </p15:guide>
        <p15:guide id="10" pos="172">
          <p15:clr>
            <a:srgbClr val="A4A3A4"/>
          </p15:clr>
        </p15:guide>
        <p15:guide id="11" orient="horz" pos="1619">
          <p15:clr>
            <a:srgbClr val="A4A3A4"/>
          </p15:clr>
        </p15:guide>
        <p15:guide id="12" orient="horz" pos="167">
          <p15:clr>
            <a:srgbClr val="A4A3A4"/>
          </p15:clr>
        </p15:guide>
        <p15:guide id="13" orient="horz" pos="3184">
          <p15:clr>
            <a:srgbClr val="A4A3A4"/>
          </p15:clr>
        </p15:guide>
        <p15:guide id="14" orient="horz" pos="2615">
          <p15:clr>
            <a:srgbClr val="A4A3A4"/>
          </p15:clr>
        </p15:guide>
        <p15:guide id="15" orient="horz" pos="769">
          <p15:clr>
            <a:srgbClr val="A4A3A4"/>
          </p15:clr>
        </p15:guide>
        <p15:guide id="16" orient="horz" pos="2841">
          <p15:clr>
            <a:srgbClr val="A4A3A4"/>
          </p15:clr>
        </p15:guide>
        <p15:guide id="17" orient="horz" pos="2377">
          <p15:clr>
            <a:srgbClr val="A4A3A4"/>
          </p15:clr>
        </p15:guide>
        <p15:guide id="18" pos="5706">
          <p15:clr>
            <a:srgbClr val="A4A3A4"/>
          </p15:clr>
        </p15:guide>
        <p15:guide id="19" pos="160">
          <p15:clr>
            <a:srgbClr val="A4A3A4"/>
          </p15:clr>
        </p15:guide>
        <p15:guide id="20" pos="76">
          <p15:clr>
            <a:srgbClr val="A4A3A4"/>
          </p15:clr>
        </p15:guide>
        <p15:guide id="21" orient="horz" pos="181">
          <p15:clr>
            <a:srgbClr val="A4A3A4"/>
          </p15:clr>
        </p15:guide>
        <p15:guide id="22" pos="15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8F"/>
    <a:srgbClr val="039CB1"/>
    <a:srgbClr val="B5D0EE"/>
    <a:srgbClr val="027180"/>
    <a:srgbClr val="8E0000"/>
    <a:srgbClr val="000093"/>
    <a:srgbClr val="2765AA"/>
    <a:srgbClr val="FFF8E1"/>
    <a:srgbClr val="FFFFFF"/>
    <a:srgbClr val="E6E6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568AF0B-132A-4D88-B7F9-6C644B6D02FF}" v="1291" dt="2019-03-11T11:55:52.77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2833802-FEF1-4C79-8D5D-14CF1EAF98D9}" styleName="Style léger 2 - Accentuation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63" autoAdjust="0"/>
    <p:restoredTop sz="76810" autoAdjust="0"/>
  </p:normalViewPr>
  <p:slideViewPr>
    <p:cSldViewPr>
      <p:cViewPr varScale="1">
        <p:scale>
          <a:sx n="69" d="100"/>
          <a:sy n="69" d="100"/>
        </p:scale>
        <p:origin x="1252" y="44"/>
      </p:cViewPr>
      <p:guideLst>
        <p:guide orient="horz" pos="2159"/>
        <p:guide orient="horz" pos="240"/>
        <p:guide orient="horz" pos="4220"/>
        <p:guide orient="horz" pos="34"/>
        <p:guide orient="horz" pos="3486"/>
        <p:guide orient="horz" pos="1026"/>
        <p:guide orient="horz" pos="3788"/>
        <p:guide pos="2879"/>
        <p:guide pos="5641"/>
        <p:guide pos="172"/>
        <p:guide orient="horz" pos="1619"/>
        <p:guide orient="horz" pos="167"/>
        <p:guide orient="horz" pos="3184"/>
        <p:guide orient="horz" pos="2615"/>
        <p:guide orient="horz" pos="769"/>
        <p:guide orient="horz" pos="2841"/>
        <p:guide orient="horz" pos="2377"/>
        <p:guide pos="5706"/>
        <p:guide pos="160"/>
        <p:guide pos="76"/>
        <p:guide orient="horz" pos="181"/>
        <p:guide pos="15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 varScale="1">
      <p:scale>
        <a:sx n="100" d="100"/>
        <a:sy n="100" d="100"/>
      </p:scale>
      <p:origin x="0" y="-8384"/>
    </p:cViewPr>
  </p:sorterViewPr>
  <p:notesViewPr>
    <p:cSldViewPr showGuides="1">
      <p:cViewPr varScale="1">
        <p:scale>
          <a:sx n="76" d="100"/>
          <a:sy n="76" d="100"/>
        </p:scale>
        <p:origin x="-3888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5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7.xml"/><Relationship Id="rId23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phane STEURS" userId="acd32063-ab0f-4460-819d-ef1a58fea78d" providerId="ADAL" clId="{F568AF0B-132A-4D88-B7F9-6C644B6D02FF}"/>
    <pc:docChg chg="undo custSel addSld delSld modSld modSection">
      <pc:chgData name="Stephane STEURS" userId="acd32063-ab0f-4460-819d-ef1a58fea78d" providerId="ADAL" clId="{F568AF0B-132A-4D88-B7F9-6C644B6D02FF}" dt="2019-03-11T11:55:52.772" v="1288" actId="5793"/>
      <pc:docMkLst>
        <pc:docMk/>
      </pc:docMkLst>
      <pc:sldChg chg="modSp">
        <pc:chgData name="Stephane STEURS" userId="acd32063-ab0f-4460-819d-ef1a58fea78d" providerId="ADAL" clId="{F568AF0B-132A-4D88-B7F9-6C644B6D02FF}" dt="2019-03-11T11:55:52.772" v="1288" actId="5793"/>
        <pc:sldMkLst>
          <pc:docMk/>
          <pc:sldMk cId="2450552003" sldId="2829"/>
        </pc:sldMkLst>
        <pc:spChg chg="mod">
          <ac:chgData name="Stephane STEURS" userId="acd32063-ab0f-4460-819d-ef1a58fea78d" providerId="ADAL" clId="{F568AF0B-132A-4D88-B7F9-6C644B6D02FF}" dt="2019-03-11T09:38:43.343" v="635" actId="20577"/>
          <ac:spMkLst>
            <pc:docMk/>
            <pc:sldMk cId="2450552003" sldId="2829"/>
            <ac:spMk id="3" creationId="{70BD46C6-60BC-4672-BD2E-72CC100B9C15}"/>
          </ac:spMkLst>
        </pc:spChg>
        <pc:spChg chg="mod">
          <ac:chgData name="Stephane STEURS" userId="acd32063-ab0f-4460-819d-ef1a58fea78d" providerId="ADAL" clId="{F568AF0B-132A-4D88-B7F9-6C644B6D02FF}" dt="2019-03-11T11:55:52.772" v="1288" actId="5793"/>
          <ac:spMkLst>
            <pc:docMk/>
            <pc:sldMk cId="2450552003" sldId="2829"/>
            <ac:spMk id="4" creationId="{395C05EB-1E4D-4E17-A2EF-E7FB6CCA96C4}"/>
          </ac:spMkLst>
        </pc:spChg>
      </pc:sldChg>
      <pc:sldChg chg="modNotesTx">
        <pc:chgData name="Stephane STEURS" userId="acd32063-ab0f-4460-819d-ef1a58fea78d" providerId="ADAL" clId="{F568AF0B-132A-4D88-B7F9-6C644B6D02FF}" dt="2019-03-11T09:45:14.684" v="1015" actId="404"/>
        <pc:sldMkLst>
          <pc:docMk/>
          <pc:sldMk cId="659423415" sldId="2832"/>
        </pc:sldMkLst>
      </pc:sldChg>
      <pc:sldChg chg="modSp add">
        <pc:chgData name="Stephane STEURS" userId="acd32063-ab0f-4460-819d-ef1a58fea78d" providerId="ADAL" clId="{F568AF0B-132A-4D88-B7F9-6C644B6D02FF}" dt="2019-03-11T09:37:08.657" v="615" actId="5793"/>
        <pc:sldMkLst>
          <pc:docMk/>
          <pc:sldMk cId="3520948401" sldId="2834"/>
        </pc:sldMkLst>
        <pc:spChg chg="mod">
          <ac:chgData name="Stephane STEURS" userId="acd32063-ab0f-4460-819d-ef1a58fea78d" providerId="ADAL" clId="{F568AF0B-132A-4D88-B7F9-6C644B6D02FF}" dt="2019-03-11T08:40:32.043" v="10" actId="20577"/>
          <ac:spMkLst>
            <pc:docMk/>
            <pc:sldMk cId="3520948401" sldId="2834"/>
            <ac:spMk id="3" creationId="{70BD46C6-60BC-4672-BD2E-72CC100B9C15}"/>
          </ac:spMkLst>
        </pc:spChg>
        <pc:spChg chg="mod">
          <ac:chgData name="Stephane STEURS" userId="acd32063-ab0f-4460-819d-ef1a58fea78d" providerId="ADAL" clId="{F568AF0B-132A-4D88-B7F9-6C644B6D02FF}" dt="2019-03-11T09:37:08.657" v="615" actId="5793"/>
          <ac:spMkLst>
            <pc:docMk/>
            <pc:sldMk cId="3520948401" sldId="2834"/>
            <ac:spMk id="4" creationId="{395C05EB-1E4D-4E17-A2EF-E7FB6CCA96C4}"/>
          </ac:spMkLst>
        </pc:spChg>
      </pc:sldChg>
      <pc:sldChg chg="modSp add">
        <pc:chgData name="Stephane STEURS" userId="acd32063-ab0f-4460-819d-ef1a58fea78d" providerId="ADAL" clId="{F568AF0B-132A-4D88-B7F9-6C644B6D02FF}" dt="2019-03-11T09:05:37.844" v="472" actId="20577"/>
        <pc:sldMkLst>
          <pc:docMk/>
          <pc:sldMk cId="2946492147" sldId="2835"/>
        </pc:sldMkLst>
        <pc:spChg chg="mod">
          <ac:chgData name="Stephane STEURS" userId="acd32063-ab0f-4460-819d-ef1a58fea78d" providerId="ADAL" clId="{F568AF0B-132A-4D88-B7F9-6C644B6D02FF}" dt="2019-03-11T09:05:37.844" v="472" actId="20577"/>
          <ac:spMkLst>
            <pc:docMk/>
            <pc:sldMk cId="2946492147" sldId="2835"/>
            <ac:spMk id="3" creationId="{70BD46C6-60BC-4672-BD2E-72CC100B9C15}"/>
          </ac:spMkLst>
        </pc:spChg>
        <pc:spChg chg="mod">
          <ac:chgData name="Stephane STEURS" userId="acd32063-ab0f-4460-819d-ef1a58fea78d" providerId="ADAL" clId="{F568AF0B-132A-4D88-B7F9-6C644B6D02FF}" dt="2019-03-11T08:54:41.154" v="342" actId="20577"/>
          <ac:spMkLst>
            <pc:docMk/>
            <pc:sldMk cId="2946492147" sldId="2835"/>
            <ac:spMk id="4" creationId="{395C05EB-1E4D-4E17-A2EF-E7FB6CCA96C4}"/>
          </ac:spMkLst>
        </pc:spChg>
      </pc:sldChg>
      <pc:sldChg chg="addSp delSp modSp add modNotesTx">
        <pc:chgData name="Stephane STEURS" userId="acd32063-ab0f-4460-819d-ef1a58fea78d" providerId="ADAL" clId="{F568AF0B-132A-4D88-B7F9-6C644B6D02FF}" dt="2019-03-11T09:04:36.360" v="443" actId="6549"/>
        <pc:sldMkLst>
          <pc:docMk/>
          <pc:sldMk cId="2382070699" sldId="2836"/>
        </pc:sldMkLst>
        <pc:spChg chg="mod">
          <ac:chgData name="Stephane STEURS" userId="acd32063-ab0f-4460-819d-ef1a58fea78d" providerId="ADAL" clId="{F568AF0B-132A-4D88-B7F9-6C644B6D02FF}" dt="2019-03-11T09:04:26.230" v="442" actId="20577"/>
          <ac:spMkLst>
            <pc:docMk/>
            <pc:sldMk cId="2382070699" sldId="2836"/>
            <ac:spMk id="3" creationId="{70BD46C6-60BC-4672-BD2E-72CC100B9C15}"/>
          </ac:spMkLst>
        </pc:spChg>
        <pc:spChg chg="mod">
          <ac:chgData name="Stephane STEURS" userId="acd32063-ab0f-4460-819d-ef1a58fea78d" providerId="ADAL" clId="{F568AF0B-132A-4D88-B7F9-6C644B6D02FF}" dt="2019-03-11T08:49:09.591" v="168" actId="1076"/>
          <ac:spMkLst>
            <pc:docMk/>
            <pc:sldMk cId="2382070699" sldId="2836"/>
            <ac:spMk id="4" creationId="{395C05EB-1E4D-4E17-A2EF-E7FB6CCA96C4}"/>
          </ac:spMkLst>
        </pc:spChg>
        <pc:spChg chg="del mod">
          <ac:chgData name="Stephane STEURS" userId="acd32063-ab0f-4460-819d-ef1a58fea78d" providerId="ADAL" clId="{F568AF0B-132A-4D88-B7F9-6C644B6D02FF}" dt="2019-03-11T08:49:32.901" v="173" actId="478"/>
          <ac:spMkLst>
            <pc:docMk/>
            <pc:sldMk cId="2382070699" sldId="2836"/>
            <ac:spMk id="5" creationId="{A6F6275E-3EC5-4692-9442-26F16A1E47FD}"/>
          </ac:spMkLst>
        </pc:spChg>
        <pc:spChg chg="del mod">
          <ac:chgData name="Stephane STEURS" userId="acd32063-ab0f-4460-819d-ef1a58fea78d" providerId="ADAL" clId="{F568AF0B-132A-4D88-B7F9-6C644B6D02FF}" dt="2019-03-11T08:49:35.991" v="174" actId="478"/>
          <ac:spMkLst>
            <pc:docMk/>
            <pc:sldMk cId="2382070699" sldId="2836"/>
            <ac:spMk id="6" creationId="{A866C337-0999-4B42-AABE-6276F07F6957}"/>
          </ac:spMkLst>
        </pc:spChg>
        <pc:spChg chg="add del">
          <ac:chgData name="Stephane STEURS" userId="acd32063-ab0f-4460-819d-ef1a58fea78d" providerId="ADAL" clId="{F568AF0B-132A-4D88-B7F9-6C644B6D02FF}" dt="2019-03-11T08:48:10.571" v="160"/>
          <ac:spMkLst>
            <pc:docMk/>
            <pc:sldMk cId="2382070699" sldId="2836"/>
            <ac:spMk id="8" creationId="{6F2CE6E6-865C-45FD-9557-66A998ACB6D7}"/>
          </ac:spMkLst>
        </pc:spChg>
        <pc:spChg chg="add del">
          <ac:chgData name="Stephane STEURS" userId="acd32063-ab0f-4460-819d-ef1a58fea78d" providerId="ADAL" clId="{F568AF0B-132A-4D88-B7F9-6C644B6D02FF}" dt="2019-03-11T08:48:30.501" v="162"/>
          <ac:spMkLst>
            <pc:docMk/>
            <pc:sldMk cId="2382070699" sldId="2836"/>
            <ac:spMk id="9" creationId="{6A9AD4BB-50A9-4C93-948E-D13F71F8AF45}"/>
          </ac:spMkLst>
        </pc:spChg>
        <pc:spChg chg="add mod">
          <ac:chgData name="Stephane STEURS" userId="acd32063-ab0f-4460-819d-ef1a58fea78d" providerId="ADAL" clId="{F568AF0B-132A-4D88-B7F9-6C644B6D02FF}" dt="2019-03-11T08:49:17.561" v="171" actId="14100"/>
          <ac:spMkLst>
            <pc:docMk/>
            <pc:sldMk cId="2382070699" sldId="2836"/>
            <ac:spMk id="10" creationId="{19664FBB-379E-449F-AE3B-F8C09948B9E6}"/>
          </ac:spMkLst>
        </pc:spChg>
        <pc:spChg chg="add del mod">
          <ac:chgData name="Stephane STEURS" userId="acd32063-ab0f-4460-819d-ef1a58fea78d" providerId="ADAL" clId="{F568AF0B-132A-4D88-B7F9-6C644B6D02FF}" dt="2019-03-11T08:49:13.901" v="170" actId="478"/>
          <ac:spMkLst>
            <pc:docMk/>
            <pc:sldMk cId="2382070699" sldId="2836"/>
            <ac:spMk id="11" creationId="{F7F372B3-1C25-4969-A241-28E0ECEAECE0}"/>
          </ac:spMkLst>
        </pc:spChg>
        <pc:spChg chg="add mod">
          <ac:chgData name="Stephane STEURS" userId="acd32063-ab0f-4460-819d-ef1a58fea78d" providerId="ADAL" clId="{F568AF0B-132A-4D88-B7F9-6C644B6D02FF}" dt="2019-03-11T08:49:09.591" v="168" actId="1076"/>
          <ac:spMkLst>
            <pc:docMk/>
            <pc:sldMk cId="2382070699" sldId="2836"/>
            <ac:spMk id="14" creationId="{325282F4-1895-49C8-8D13-5EF3F9354F5F}"/>
          </ac:spMkLst>
        </pc:spChg>
        <pc:spChg chg="add mod">
          <ac:chgData name="Stephane STEURS" userId="acd32063-ab0f-4460-819d-ef1a58fea78d" providerId="ADAL" clId="{F568AF0B-132A-4D88-B7F9-6C644B6D02FF}" dt="2019-03-11T08:49:09.591" v="168" actId="1076"/>
          <ac:spMkLst>
            <pc:docMk/>
            <pc:sldMk cId="2382070699" sldId="2836"/>
            <ac:spMk id="15" creationId="{6F795190-E2AA-4815-A0BC-D8BEC81ED020}"/>
          </ac:spMkLst>
        </pc:spChg>
        <pc:spChg chg="add mod">
          <ac:chgData name="Stephane STEURS" userId="acd32063-ab0f-4460-819d-ef1a58fea78d" providerId="ADAL" clId="{F568AF0B-132A-4D88-B7F9-6C644B6D02FF}" dt="2019-03-11T08:49:09.591" v="168" actId="1076"/>
          <ac:spMkLst>
            <pc:docMk/>
            <pc:sldMk cId="2382070699" sldId="2836"/>
            <ac:spMk id="16" creationId="{F0BC6F03-16D8-48B8-96C1-FF024404DF66}"/>
          </ac:spMkLst>
        </pc:spChg>
        <pc:spChg chg="add mod">
          <ac:chgData name="Stephane STEURS" userId="acd32063-ab0f-4460-819d-ef1a58fea78d" providerId="ADAL" clId="{F568AF0B-132A-4D88-B7F9-6C644B6D02FF}" dt="2019-03-11T08:49:09.591" v="168" actId="1076"/>
          <ac:spMkLst>
            <pc:docMk/>
            <pc:sldMk cId="2382070699" sldId="2836"/>
            <ac:spMk id="17" creationId="{CEB705D7-6579-416F-8BE7-69164853FC98}"/>
          </ac:spMkLst>
        </pc:spChg>
        <pc:spChg chg="add mod">
          <ac:chgData name="Stephane STEURS" userId="acd32063-ab0f-4460-819d-ef1a58fea78d" providerId="ADAL" clId="{F568AF0B-132A-4D88-B7F9-6C644B6D02FF}" dt="2019-03-11T08:49:09.591" v="168" actId="1076"/>
          <ac:spMkLst>
            <pc:docMk/>
            <pc:sldMk cId="2382070699" sldId="2836"/>
            <ac:spMk id="19" creationId="{99897EDB-5391-4F2D-AE48-69DEBAE2AB03}"/>
          </ac:spMkLst>
        </pc:spChg>
        <pc:spChg chg="add mod">
          <ac:chgData name="Stephane STEURS" userId="acd32063-ab0f-4460-819d-ef1a58fea78d" providerId="ADAL" clId="{F568AF0B-132A-4D88-B7F9-6C644B6D02FF}" dt="2019-03-11T08:49:09.591" v="168" actId="1076"/>
          <ac:spMkLst>
            <pc:docMk/>
            <pc:sldMk cId="2382070699" sldId="2836"/>
            <ac:spMk id="20" creationId="{EFEDDB46-C76C-4A1F-B230-18F96289C9F1}"/>
          </ac:spMkLst>
        </pc:spChg>
        <pc:spChg chg="add mod">
          <ac:chgData name="Stephane STEURS" userId="acd32063-ab0f-4460-819d-ef1a58fea78d" providerId="ADAL" clId="{F568AF0B-132A-4D88-B7F9-6C644B6D02FF}" dt="2019-03-11T08:49:09.591" v="168" actId="1076"/>
          <ac:spMkLst>
            <pc:docMk/>
            <pc:sldMk cId="2382070699" sldId="2836"/>
            <ac:spMk id="21" creationId="{9A3EFD39-5672-4755-8EFF-EC7FE1DB1ED4}"/>
          </ac:spMkLst>
        </pc:spChg>
        <pc:spChg chg="add mod">
          <ac:chgData name="Stephane STEURS" userId="acd32063-ab0f-4460-819d-ef1a58fea78d" providerId="ADAL" clId="{F568AF0B-132A-4D88-B7F9-6C644B6D02FF}" dt="2019-03-11T08:49:09.591" v="168" actId="1076"/>
          <ac:spMkLst>
            <pc:docMk/>
            <pc:sldMk cId="2382070699" sldId="2836"/>
            <ac:spMk id="22" creationId="{E278015C-FFC9-4BE6-AB33-A6A5C60DF4B0}"/>
          </ac:spMkLst>
        </pc:spChg>
        <pc:spChg chg="add mod">
          <ac:chgData name="Stephane STEURS" userId="acd32063-ab0f-4460-819d-ef1a58fea78d" providerId="ADAL" clId="{F568AF0B-132A-4D88-B7F9-6C644B6D02FF}" dt="2019-03-11T08:49:09.591" v="168" actId="1076"/>
          <ac:spMkLst>
            <pc:docMk/>
            <pc:sldMk cId="2382070699" sldId="2836"/>
            <ac:spMk id="23" creationId="{ABA2D3D6-7E77-4D13-8BE2-5AD9A5ED392B}"/>
          </ac:spMkLst>
        </pc:spChg>
        <pc:spChg chg="add mod">
          <ac:chgData name="Stephane STEURS" userId="acd32063-ab0f-4460-819d-ef1a58fea78d" providerId="ADAL" clId="{F568AF0B-132A-4D88-B7F9-6C644B6D02FF}" dt="2019-03-11T08:49:09.591" v="168" actId="1076"/>
          <ac:spMkLst>
            <pc:docMk/>
            <pc:sldMk cId="2382070699" sldId="2836"/>
            <ac:spMk id="24" creationId="{8558EE94-C014-4B8F-9495-5E66E0233D35}"/>
          </ac:spMkLst>
        </pc:spChg>
        <pc:spChg chg="add mod">
          <ac:chgData name="Stephane STEURS" userId="acd32063-ab0f-4460-819d-ef1a58fea78d" providerId="ADAL" clId="{F568AF0B-132A-4D88-B7F9-6C644B6D02FF}" dt="2019-03-11T08:49:09.591" v="168" actId="1076"/>
          <ac:spMkLst>
            <pc:docMk/>
            <pc:sldMk cId="2382070699" sldId="2836"/>
            <ac:spMk id="25" creationId="{354B7CEC-36AE-4158-AAA2-74AAC100BED8}"/>
          </ac:spMkLst>
        </pc:spChg>
        <pc:spChg chg="add mod">
          <ac:chgData name="Stephane STEURS" userId="acd32063-ab0f-4460-819d-ef1a58fea78d" providerId="ADAL" clId="{F568AF0B-132A-4D88-B7F9-6C644B6D02FF}" dt="2019-03-11T08:49:09.591" v="168" actId="1076"/>
          <ac:spMkLst>
            <pc:docMk/>
            <pc:sldMk cId="2382070699" sldId="2836"/>
            <ac:spMk id="26" creationId="{707488E7-A3C6-44CB-8DC0-3AB65D3DE904}"/>
          </ac:spMkLst>
        </pc:spChg>
        <pc:spChg chg="add mod">
          <ac:chgData name="Stephane STEURS" userId="acd32063-ab0f-4460-819d-ef1a58fea78d" providerId="ADAL" clId="{F568AF0B-132A-4D88-B7F9-6C644B6D02FF}" dt="2019-03-11T08:49:09.591" v="168" actId="1076"/>
          <ac:spMkLst>
            <pc:docMk/>
            <pc:sldMk cId="2382070699" sldId="2836"/>
            <ac:spMk id="27" creationId="{A8CAE3E7-C1FE-42AD-B46E-53CC4BD8F0F1}"/>
          </ac:spMkLst>
        </pc:spChg>
        <pc:spChg chg="add mod">
          <ac:chgData name="Stephane STEURS" userId="acd32063-ab0f-4460-819d-ef1a58fea78d" providerId="ADAL" clId="{F568AF0B-132A-4D88-B7F9-6C644B6D02FF}" dt="2019-03-11T08:49:09.591" v="168" actId="1076"/>
          <ac:spMkLst>
            <pc:docMk/>
            <pc:sldMk cId="2382070699" sldId="2836"/>
            <ac:spMk id="28" creationId="{2EA5B516-9ECA-4FA7-855C-81265880DFDA}"/>
          </ac:spMkLst>
        </pc:spChg>
        <pc:spChg chg="add mod">
          <ac:chgData name="Stephane STEURS" userId="acd32063-ab0f-4460-819d-ef1a58fea78d" providerId="ADAL" clId="{F568AF0B-132A-4D88-B7F9-6C644B6D02FF}" dt="2019-03-11T08:49:09.591" v="168" actId="1076"/>
          <ac:spMkLst>
            <pc:docMk/>
            <pc:sldMk cId="2382070699" sldId="2836"/>
            <ac:spMk id="30" creationId="{1ECE68A9-F7C7-47F4-9F04-AEC430634CD6}"/>
          </ac:spMkLst>
        </pc:spChg>
        <pc:spChg chg="add mod">
          <ac:chgData name="Stephane STEURS" userId="acd32063-ab0f-4460-819d-ef1a58fea78d" providerId="ADAL" clId="{F568AF0B-132A-4D88-B7F9-6C644B6D02FF}" dt="2019-03-11T08:49:09.591" v="168" actId="1076"/>
          <ac:spMkLst>
            <pc:docMk/>
            <pc:sldMk cId="2382070699" sldId="2836"/>
            <ac:spMk id="31" creationId="{F811895F-1BE6-4991-9342-F087DC06E78B}"/>
          </ac:spMkLst>
        </pc:spChg>
        <pc:spChg chg="add mod">
          <ac:chgData name="Stephane STEURS" userId="acd32063-ab0f-4460-819d-ef1a58fea78d" providerId="ADAL" clId="{F568AF0B-132A-4D88-B7F9-6C644B6D02FF}" dt="2019-03-11T08:49:09.591" v="168" actId="1076"/>
          <ac:spMkLst>
            <pc:docMk/>
            <pc:sldMk cId="2382070699" sldId="2836"/>
            <ac:spMk id="32" creationId="{21397931-B005-4BEF-86FB-A8CA29E55903}"/>
          </ac:spMkLst>
        </pc:spChg>
        <pc:spChg chg="add mod">
          <ac:chgData name="Stephane STEURS" userId="acd32063-ab0f-4460-819d-ef1a58fea78d" providerId="ADAL" clId="{F568AF0B-132A-4D88-B7F9-6C644B6D02FF}" dt="2019-03-11T08:49:09.591" v="168" actId="1076"/>
          <ac:spMkLst>
            <pc:docMk/>
            <pc:sldMk cId="2382070699" sldId="2836"/>
            <ac:spMk id="35" creationId="{4DCA0973-F20B-449E-A34C-BB1C33010FB1}"/>
          </ac:spMkLst>
        </pc:spChg>
        <pc:spChg chg="add mod">
          <ac:chgData name="Stephane STEURS" userId="acd32063-ab0f-4460-819d-ef1a58fea78d" providerId="ADAL" clId="{F568AF0B-132A-4D88-B7F9-6C644B6D02FF}" dt="2019-03-11T08:49:09.591" v="168" actId="1076"/>
          <ac:spMkLst>
            <pc:docMk/>
            <pc:sldMk cId="2382070699" sldId="2836"/>
            <ac:spMk id="36" creationId="{2C64B101-3FB1-45BC-A413-429F7D792EEA}"/>
          </ac:spMkLst>
        </pc:spChg>
        <pc:picChg chg="del">
          <ac:chgData name="Stephane STEURS" userId="acd32063-ab0f-4460-819d-ef1a58fea78d" providerId="ADAL" clId="{F568AF0B-132A-4D88-B7F9-6C644B6D02FF}" dt="2019-03-11T08:48:03.564" v="158" actId="478"/>
          <ac:picMkLst>
            <pc:docMk/>
            <pc:sldMk cId="2382070699" sldId="2836"/>
            <ac:picMk id="7" creationId="{7366AC83-033F-4B40-AEA3-4C33B952B8ED}"/>
          </ac:picMkLst>
        </pc:picChg>
        <pc:picChg chg="add mod">
          <ac:chgData name="Stephane STEURS" userId="acd32063-ab0f-4460-819d-ef1a58fea78d" providerId="ADAL" clId="{F568AF0B-132A-4D88-B7F9-6C644B6D02FF}" dt="2019-03-11T08:49:09.591" v="168" actId="1076"/>
          <ac:picMkLst>
            <pc:docMk/>
            <pc:sldMk cId="2382070699" sldId="2836"/>
            <ac:picMk id="18" creationId="{47718835-272F-4F31-B0E3-91B44A3641C5}"/>
          </ac:picMkLst>
        </pc:picChg>
        <pc:cxnChg chg="add mod">
          <ac:chgData name="Stephane STEURS" userId="acd32063-ab0f-4460-819d-ef1a58fea78d" providerId="ADAL" clId="{F568AF0B-132A-4D88-B7F9-6C644B6D02FF}" dt="2019-03-11T08:49:09.591" v="168" actId="1076"/>
          <ac:cxnSpMkLst>
            <pc:docMk/>
            <pc:sldMk cId="2382070699" sldId="2836"/>
            <ac:cxnSpMk id="12" creationId="{366DCB62-9BE4-4B82-8D40-D9CF50E12FA1}"/>
          </ac:cxnSpMkLst>
        </pc:cxnChg>
        <pc:cxnChg chg="add mod">
          <ac:chgData name="Stephane STEURS" userId="acd32063-ab0f-4460-819d-ef1a58fea78d" providerId="ADAL" clId="{F568AF0B-132A-4D88-B7F9-6C644B6D02FF}" dt="2019-03-11T08:49:09.591" v="168" actId="1076"/>
          <ac:cxnSpMkLst>
            <pc:docMk/>
            <pc:sldMk cId="2382070699" sldId="2836"/>
            <ac:cxnSpMk id="13" creationId="{FFEB2884-9596-4F08-A073-84474949A0D3}"/>
          </ac:cxnSpMkLst>
        </pc:cxnChg>
        <pc:cxnChg chg="add mod">
          <ac:chgData name="Stephane STEURS" userId="acd32063-ab0f-4460-819d-ef1a58fea78d" providerId="ADAL" clId="{F568AF0B-132A-4D88-B7F9-6C644B6D02FF}" dt="2019-03-11T08:49:09.591" v="168" actId="1076"/>
          <ac:cxnSpMkLst>
            <pc:docMk/>
            <pc:sldMk cId="2382070699" sldId="2836"/>
            <ac:cxnSpMk id="29" creationId="{1E1328CF-20E3-4953-8010-F7E0EA8C156C}"/>
          </ac:cxnSpMkLst>
        </pc:cxnChg>
        <pc:cxnChg chg="add mod">
          <ac:chgData name="Stephane STEURS" userId="acd32063-ab0f-4460-819d-ef1a58fea78d" providerId="ADAL" clId="{F568AF0B-132A-4D88-B7F9-6C644B6D02FF}" dt="2019-03-11T08:49:09.591" v="168" actId="1076"/>
          <ac:cxnSpMkLst>
            <pc:docMk/>
            <pc:sldMk cId="2382070699" sldId="2836"/>
            <ac:cxnSpMk id="33" creationId="{F065AAED-915C-471F-BD90-65FF5AB7742C}"/>
          </ac:cxnSpMkLst>
        </pc:cxnChg>
        <pc:cxnChg chg="add mod">
          <ac:chgData name="Stephane STEURS" userId="acd32063-ab0f-4460-819d-ef1a58fea78d" providerId="ADAL" clId="{F568AF0B-132A-4D88-B7F9-6C644B6D02FF}" dt="2019-03-11T08:49:09.591" v="168" actId="1076"/>
          <ac:cxnSpMkLst>
            <pc:docMk/>
            <pc:sldMk cId="2382070699" sldId="2836"/>
            <ac:cxnSpMk id="34" creationId="{E4F8A445-EA00-491C-8A4A-09AF43778197}"/>
          </ac:cxnSpMkLst>
        </pc:cxnChg>
      </pc:sldChg>
      <pc:sldChg chg="delSp add del">
        <pc:chgData name="Stephane STEURS" userId="acd32063-ab0f-4460-819d-ef1a58fea78d" providerId="ADAL" clId="{F568AF0B-132A-4D88-B7F9-6C644B6D02FF}" dt="2019-03-11T08:50:45.046" v="178" actId="2696"/>
        <pc:sldMkLst>
          <pc:docMk/>
          <pc:sldMk cId="109321691" sldId="2837"/>
        </pc:sldMkLst>
        <pc:spChg chg="del">
          <ac:chgData name="Stephane STEURS" userId="acd32063-ab0f-4460-819d-ef1a58fea78d" providerId="ADAL" clId="{F568AF0B-132A-4D88-B7F9-6C644B6D02FF}" dt="2019-03-11T08:50:30.216" v="176" actId="478"/>
          <ac:spMkLst>
            <pc:docMk/>
            <pc:sldMk cId="109321691" sldId="2837"/>
            <ac:spMk id="10" creationId="{19664FBB-379E-449F-AE3B-F8C09948B9E6}"/>
          </ac:spMkLst>
        </pc:spChg>
      </pc:sldChg>
      <pc:sldChg chg="addSp delSp modSp add modNotesTx">
        <pc:chgData name="Stephane STEURS" userId="acd32063-ab0f-4460-819d-ef1a58fea78d" providerId="ADAL" clId="{F568AF0B-132A-4D88-B7F9-6C644B6D02FF}" dt="2019-03-11T09:09:57.422" v="567" actId="20577"/>
        <pc:sldMkLst>
          <pc:docMk/>
          <pc:sldMk cId="2573603197" sldId="2838"/>
        </pc:sldMkLst>
        <pc:spChg chg="mod">
          <ac:chgData name="Stephane STEURS" userId="acd32063-ab0f-4460-819d-ef1a58fea78d" providerId="ADAL" clId="{F568AF0B-132A-4D88-B7F9-6C644B6D02FF}" dt="2019-03-11T08:50:56.006" v="204" actId="20577"/>
          <ac:spMkLst>
            <pc:docMk/>
            <pc:sldMk cId="2573603197" sldId="2838"/>
            <ac:spMk id="3" creationId="{70BD46C6-60BC-4672-BD2E-72CC100B9C15}"/>
          </ac:spMkLst>
        </pc:spChg>
        <pc:graphicFrameChg chg="add mod modGraphic">
          <ac:chgData name="Stephane STEURS" userId="acd32063-ab0f-4460-819d-ef1a58fea78d" providerId="ADAL" clId="{F568AF0B-132A-4D88-B7F9-6C644B6D02FF}" dt="2019-03-11T08:51:31.955" v="211" actId="1076"/>
          <ac:graphicFrameMkLst>
            <pc:docMk/>
            <pc:sldMk cId="2573603197" sldId="2838"/>
            <ac:graphicFrameMk id="8" creationId="{DBE83AFA-357B-4388-A5E4-22D89DCBD619}"/>
          </ac:graphicFrameMkLst>
        </pc:graphicFrameChg>
        <pc:picChg chg="del">
          <ac:chgData name="Stephane STEURS" userId="acd32063-ab0f-4460-819d-ef1a58fea78d" providerId="ADAL" clId="{F568AF0B-132A-4D88-B7F9-6C644B6D02FF}" dt="2019-03-11T08:51:03.316" v="205" actId="478"/>
          <ac:picMkLst>
            <pc:docMk/>
            <pc:sldMk cId="2573603197" sldId="2838"/>
            <ac:picMk id="7" creationId="{7366AC83-033F-4B40-AEA3-4C33B952B8ED}"/>
          </ac:picMkLst>
        </pc:picChg>
      </pc:sldChg>
      <pc:sldChg chg="addSp delSp modSp add modNotesTx">
        <pc:chgData name="Stephane STEURS" userId="acd32063-ab0f-4460-819d-ef1a58fea78d" providerId="ADAL" clId="{F568AF0B-132A-4D88-B7F9-6C644B6D02FF}" dt="2019-03-11T09:44:28.264" v="1013" actId="20577"/>
        <pc:sldMkLst>
          <pc:docMk/>
          <pc:sldMk cId="3222900231" sldId="2839"/>
        </pc:sldMkLst>
        <pc:spChg chg="mod">
          <ac:chgData name="Stephane STEURS" userId="acd32063-ab0f-4460-819d-ef1a58fea78d" providerId="ADAL" clId="{F568AF0B-132A-4D88-B7F9-6C644B6D02FF}" dt="2019-03-11T08:58:16.573" v="400" actId="20577"/>
          <ac:spMkLst>
            <pc:docMk/>
            <pc:sldMk cId="3222900231" sldId="2839"/>
            <ac:spMk id="3" creationId="{70BD46C6-60BC-4672-BD2E-72CC100B9C15}"/>
          </ac:spMkLst>
        </pc:spChg>
        <pc:spChg chg="del mod">
          <ac:chgData name="Stephane STEURS" userId="acd32063-ab0f-4460-819d-ef1a58fea78d" providerId="ADAL" clId="{F568AF0B-132A-4D88-B7F9-6C644B6D02FF}" dt="2019-03-11T08:58:23.723" v="402" actId="478"/>
          <ac:spMkLst>
            <pc:docMk/>
            <pc:sldMk cId="3222900231" sldId="2839"/>
            <ac:spMk id="4" creationId="{395C05EB-1E4D-4E17-A2EF-E7FB6CCA96C4}"/>
          </ac:spMkLst>
        </pc:spChg>
        <pc:spChg chg="add mod">
          <ac:chgData name="Stephane STEURS" userId="acd32063-ab0f-4460-819d-ef1a58fea78d" providerId="ADAL" clId="{F568AF0B-132A-4D88-B7F9-6C644B6D02FF}" dt="2019-03-11T09:44:02.815" v="941" actId="20577"/>
          <ac:spMkLst>
            <pc:docMk/>
            <pc:sldMk cId="3222900231" sldId="2839"/>
            <ac:spMk id="8" creationId="{221731FF-8605-46C2-97CD-A441F768B538}"/>
          </ac:spMkLst>
        </pc:spChg>
        <pc:picChg chg="add mod modCrop">
          <ac:chgData name="Stephane STEURS" userId="acd32063-ab0f-4460-819d-ef1a58fea78d" providerId="ADAL" clId="{F568AF0B-132A-4D88-B7F9-6C644B6D02FF}" dt="2019-03-11T08:59:57.696" v="409" actId="14100"/>
          <ac:picMkLst>
            <pc:docMk/>
            <pc:sldMk cId="3222900231" sldId="2839"/>
            <ac:picMk id="10" creationId="{AD2A26BA-EB84-4DA4-81B6-E498B2F351B5}"/>
          </ac:picMkLst>
        </pc:picChg>
      </pc:sldChg>
      <pc:sldChg chg="addSp delSp modSp add modNotesTx">
        <pc:chgData name="Stephane STEURS" userId="acd32063-ab0f-4460-819d-ef1a58fea78d" providerId="ADAL" clId="{F568AF0B-132A-4D88-B7F9-6C644B6D02FF}" dt="2019-03-11T09:54:47.850" v="1261" actId="478"/>
        <pc:sldMkLst>
          <pc:docMk/>
          <pc:sldMk cId="488466181" sldId="2840"/>
        </pc:sldMkLst>
        <pc:spChg chg="mod">
          <ac:chgData name="Stephane STEURS" userId="acd32063-ab0f-4460-819d-ef1a58fea78d" providerId="ADAL" clId="{F568AF0B-132A-4D88-B7F9-6C644B6D02FF}" dt="2019-03-11T09:07:12.762" v="485" actId="20577"/>
          <ac:spMkLst>
            <pc:docMk/>
            <pc:sldMk cId="488466181" sldId="2840"/>
            <ac:spMk id="3" creationId="{70BD46C6-60BC-4672-BD2E-72CC100B9C15}"/>
          </ac:spMkLst>
        </pc:spChg>
        <pc:spChg chg="add del">
          <ac:chgData name="Stephane STEURS" userId="acd32063-ab0f-4460-819d-ef1a58fea78d" providerId="ADAL" clId="{F568AF0B-132A-4D88-B7F9-6C644B6D02FF}" dt="2019-03-11T09:07:16.952" v="487"/>
          <ac:spMkLst>
            <pc:docMk/>
            <pc:sldMk cId="488466181" sldId="2840"/>
            <ac:spMk id="9" creationId="{957A1FD4-B715-4ABB-8ADE-B40D2B173AD4}"/>
          </ac:spMkLst>
        </pc:spChg>
        <pc:spChg chg="add del">
          <ac:chgData name="Stephane STEURS" userId="acd32063-ab0f-4460-819d-ef1a58fea78d" providerId="ADAL" clId="{F568AF0B-132A-4D88-B7F9-6C644B6D02FF}" dt="2019-03-11T09:07:16.952" v="487"/>
          <ac:spMkLst>
            <pc:docMk/>
            <pc:sldMk cId="488466181" sldId="2840"/>
            <ac:spMk id="10" creationId="{69E45B18-2887-4792-B503-4386DD8B9D8F}"/>
          </ac:spMkLst>
        </pc:spChg>
        <pc:spChg chg="add del">
          <ac:chgData name="Stephane STEURS" userId="acd32063-ab0f-4460-819d-ef1a58fea78d" providerId="ADAL" clId="{F568AF0B-132A-4D88-B7F9-6C644B6D02FF}" dt="2019-03-11T09:07:16.952" v="487"/>
          <ac:spMkLst>
            <pc:docMk/>
            <pc:sldMk cId="488466181" sldId="2840"/>
            <ac:spMk id="11" creationId="{7C477050-D79B-467F-B7E6-1C0073EA6FCE}"/>
          </ac:spMkLst>
        </pc:spChg>
        <pc:spChg chg="add del">
          <ac:chgData name="Stephane STEURS" userId="acd32063-ab0f-4460-819d-ef1a58fea78d" providerId="ADAL" clId="{F568AF0B-132A-4D88-B7F9-6C644B6D02FF}" dt="2019-03-11T09:07:16.952" v="487"/>
          <ac:spMkLst>
            <pc:docMk/>
            <pc:sldMk cId="488466181" sldId="2840"/>
            <ac:spMk id="12" creationId="{DE762483-90BC-4DCE-8E3C-2FF57CA4A949}"/>
          </ac:spMkLst>
        </pc:spChg>
        <pc:spChg chg="add del">
          <ac:chgData name="Stephane STEURS" userId="acd32063-ab0f-4460-819d-ef1a58fea78d" providerId="ADAL" clId="{F568AF0B-132A-4D88-B7F9-6C644B6D02FF}" dt="2019-03-11T09:07:16.952" v="487"/>
          <ac:spMkLst>
            <pc:docMk/>
            <pc:sldMk cId="488466181" sldId="2840"/>
            <ac:spMk id="13" creationId="{4B9F2A14-C780-4750-8FCB-204FDCC55C1A}"/>
          </ac:spMkLst>
        </pc:spChg>
        <pc:spChg chg="add del">
          <ac:chgData name="Stephane STEURS" userId="acd32063-ab0f-4460-819d-ef1a58fea78d" providerId="ADAL" clId="{F568AF0B-132A-4D88-B7F9-6C644B6D02FF}" dt="2019-03-11T09:07:16.952" v="487"/>
          <ac:spMkLst>
            <pc:docMk/>
            <pc:sldMk cId="488466181" sldId="2840"/>
            <ac:spMk id="14" creationId="{9C3DC251-31C8-44FA-AD16-E96AD528B86D}"/>
          </ac:spMkLst>
        </pc:spChg>
        <pc:spChg chg="add del">
          <ac:chgData name="Stephane STEURS" userId="acd32063-ab0f-4460-819d-ef1a58fea78d" providerId="ADAL" clId="{F568AF0B-132A-4D88-B7F9-6C644B6D02FF}" dt="2019-03-11T09:07:16.952" v="487"/>
          <ac:spMkLst>
            <pc:docMk/>
            <pc:sldMk cId="488466181" sldId="2840"/>
            <ac:spMk id="15" creationId="{2FAEF40E-19A0-49DB-BCBC-E73E3388F393}"/>
          </ac:spMkLst>
        </pc:spChg>
        <pc:spChg chg="add del">
          <ac:chgData name="Stephane STEURS" userId="acd32063-ab0f-4460-819d-ef1a58fea78d" providerId="ADAL" clId="{F568AF0B-132A-4D88-B7F9-6C644B6D02FF}" dt="2019-03-11T09:07:16.952" v="487"/>
          <ac:spMkLst>
            <pc:docMk/>
            <pc:sldMk cId="488466181" sldId="2840"/>
            <ac:spMk id="16" creationId="{F1DC68FF-E783-480B-A049-9311E06F85C6}"/>
          </ac:spMkLst>
        </pc:spChg>
        <pc:spChg chg="add del">
          <ac:chgData name="Stephane STEURS" userId="acd32063-ab0f-4460-819d-ef1a58fea78d" providerId="ADAL" clId="{F568AF0B-132A-4D88-B7F9-6C644B6D02FF}" dt="2019-03-11T09:07:16.952" v="487"/>
          <ac:spMkLst>
            <pc:docMk/>
            <pc:sldMk cId="488466181" sldId="2840"/>
            <ac:spMk id="18" creationId="{F347A01C-8335-4762-9DEE-B97D844AD9B3}"/>
          </ac:spMkLst>
        </pc:spChg>
        <pc:spChg chg="add del">
          <ac:chgData name="Stephane STEURS" userId="acd32063-ab0f-4460-819d-ef1a58fea78d" providerId="ADAL" clId="{F568AF0B-132A-4D88-B7F9-6C644B6D02FF}" dt="2019-03-11T09:07:16.952" v="487"/>
          <ac:spMkLst>
            <pc:docMk/>
            <pc:sldMk cId="488466181" sldId="2840"/>
            <ac:spMk id="19" creationId="{E5B2CF68-4B5D-4F37-9567-65323AD056B3}"/>
          </ac:spMkLst>
        </pc:spChg>
        <pc:spChg chg="add del">
          <ac:chgData name="Stephane STEURS" userId="acd32063-ab0f-4460-819d-ef1a58fea78d" providerId="ADAL" clId="{F568AF0B-132A-4D88-B7F9-6C644B6D02FF}" dt="2019-03-11T09:07:16.952" v="487"/>
          <ac:spMkLst>
            <pc:docMk/>
            <pc:sldMk cId="488466181" sldId="2840"/>
            <ac:spMk id="20" creationId="{32BA29D4-7277-4827-AFDA-62CC8A0B1857}"/>
          </ac:spMkLst>
        </pc:spChg>
        <pc:spChg chg="add del">
          <ac:chgData name="Stephane STEURS" userId="acd32063-ab0f-4460-819d-ef1a58fea78d" providerId="ADAL" clId="{F568AF0B-132A-4D88-B7F9-6C644B6D02FF}" dt="2019-03-11T09:07:16.952" v="487"/>
          <ac:spMkLst>
            <pc:docMk/>
            <pc:sldMk cId="488466181" sldId="2840"/>
            <ac:spMk id="21" creationId="{074EEAF8-49C8-49FC-8639-698642BC0FE6}"/>
          </ac:spMkLst>
        </pc:spChg>
        <pc:spChg chg="add del">
          <ac:chgData name="Stephane STEURS" userId="acd32063-ab0f-4460-819d-ef1a58fea78d" providerId="ADAL" clId="{F568AF0B-132A-4D88-B7F9-6C644B6D02FF}" dt="2019-03-11T09:07:16.952" v="487"/>
          <ac:spMkLst>
            <pc:docMk/>
            <pc:sldMk cId="488466181" sldId="2840"/>
            <ac:spMk id="22" creationId="{852B74D1-8B4B-4BB9-A571-14F9971D12D3}"/>
          </ac:spMkLst>
        </pc:spChg>
        <pc:spChg chg="add del">
          <ac:chgData name="Stephane STEURS" userId="acd32063-ab0f-4460-819d-ef1a58fea78d" providerId="ADAL" clId="{F568AF0B-132A-4D88-B7F9-6C644B6D02FF}" dt="2019-03-11T09:07:16.952" v="487"/>
          <ac:spMkLst>
            <pc:docMk/>
            <pc:sldMk cId="488466181" sldId="2840"/>
            <ac:spMk id="23" creationId="{B93C4594-0714-4792-8D31-29AACD0FCFBF}"/>
          </ac:spMkLst>
        </pc:spChg>
        <pc:spChg chg="add del">
          <ac:chgData name="Stephane STEURS" userId="acd32063-ab0f-4460-819d-ef1a58fea78d" providerId="ADAL" clId="{F568AF0B-132A-4D88-B7F9-6C644B6D02FF}" dt="2019-03-11T09:07:16.952" v="487"/>
          <ac:spMkLst>
            <pc:docMk/>
            <pc:sldMk cId="488466181" sldId="2840"/>
            <ac:spMk id="30" creationId="{AD6C70DD-9F6E-47FA-9D49-642ACE259A63}"/>
          </ac:spMkLst>
        </pc:spChg>
        <pc:spChg chg="add del">
          <ac:chgData name="Stephane STEURS" userId="acd32063-ab0f-4460-819d-ef1a58fea78d" providerId="ADAL" clId="{F568AF0B-132A-4D88-B7F9-6C644B6D02FF}" dt="2019-03-11T09:07:16.952" v="487"/>
          <ac:spMkLst>
            <pc:docMk/>
            <pc:sldMk cId="488466181" sldId="2840"/>
            <ac:spMk id="32" creationId="{05791393-B48B-4B0F-B79D-0EDDA534E0C0}"/>
          </ac:spMkLst>
        </pc:spChg>
        <pc:spChg chg="add del">
          <ac:chgData name="Stephane STEURS" userId="acd32063-ab0f-4460-819d-ef1a58fea78d" providerId="ADAL" clId="{F568AF0B-132A-4D88-B7F9-6C644B6D02FF}" dt="2019-03-11T09:07:16.952" v="487"/>
          <ac:spMkLst>
            <pc:docMk/>
            <pc:sldMk cId="488466181" sldId="2840"/>
            <ac:spMk id="33" creationId="{9DB42303-5868-4990-A6D2-C449A1890B40}"/>
          </ac:spMkLst>
        </pc:spChg>
        <pc:spChg chg="add del">
          <ac:chgData name="Stephane STEURS" userId="acd32063-ab0f-4460-819d-ef1a58fea78d" providerId="ADAL" clId="{F568AF0B-132A-4D88-B7F9-6C644B6D02FF}" dt="2019-03-11T09:07:16.952" v="487"/>
          <ac:spMkLst>
            <pc:docMk/>
            <pc:sldMk cId="488466181" sldId="2840"/>
            <ac:spMk id="34" creationId="{9D62B9DE-0BA7-4BFA-B4D5-C2784F65653D}"/>
          </ac:spMkLst>
        </pc:spChg>
        <pc:spChg chg="add del">
          <ac:chgData name="Stephane STEURS" userId="acd32063-ab0f-4460-819d-ef1a58fea78d" providerId="ADAL" clId="{F568AF0B-132A-4D88-B7F9-6C644B6D02FF}" dt="2019-03-11T09:07:16.952" v="487"/>
          <ac:spMkLst>
            <pc:docMk/>
            <pc:sldMk cId="488466181" sldId="2840"/>
            <ac:spMk id="35" creationId="{A47A2A19-F07F-4556-86AB-A8C1A0229C13}"/>
          </ac:spMkLst>
        </pc:spChg>
        <pc:spChg chg="add del mod">
          <ac:chgData name="Stephane STEURS" userId="acd32063-ab0f-4460-819d-ef1a58fea78d" providerId="ADAL" clId="{F568AF0B-132A-4D88-B7F9-6C644B6D02FF}" dt="2019-03-11T09:54:34.590" v="1254" actId="478"/>
          <ac:spMkLst>
            <pc:docMk/>
            <pc:sldMk cId="488466181" sldId="2840"/>
            <ac:spMk id="38" creationId="{9F18B128-4325-4623-9C61-BB6660E7C9E6}"/>
          </ac:spMkLst>
        </pc:spChg>
        <pc:spChg chg="add del mod">
          <ac:chgData name="Stephane STEURS" userId="acd32063-ab0f-4460-819d-ef1a58fea78d" providerId="ADAL" clId="{F568AF0B-132A-4D88-B7F9-6C644B6D02FF}" dt="2019-03-11T09:54:42.780" v="1258" actId="478"/>
          <ac:spMkLst>
            <pc:docMk/>
            <pc:sldMk cId="488466181" sldId="2840"/>
            <ac:spMk id="39" creationId="{496A960A-9788-4F4F-8532-E899DB29751D}"/>
          </ac:spMkLst>
        </pc:spChg>
        <pc:spChg chg="add mod">
          <ac:chgData name="Stephane STEURS" userId="acd32063-ab0f-4460-819d-ef1a58fea78d" providerId="ADAL" clId="{F568AF0B-132A-4D88-B7F9-6C644B6D02FF}" dt="2019-03-11T09:07:30.132" v="531" actId="1036"/>
          <ac:spMkLst>
            <pc:docMk/>
            <pc:sldMk cId="488466181" sldId="2840"/>
            <ac:spMk id="40" creationId="{3BF407C9-5DE7-4885-A227-9379E56B2F73}"/>
          </ac:spMkLst>
        </pc:spChg>
        <pc:spChg chg="add mod">
          <ac:chgData name="Stephane STEURS" userId="acd32063-ab0f-4460-819d-ef1a58fea78d" providerId="ADAL" clId="{F568AF0B-132A-4D88-B7F9-6C644B6D02FF}" dt="2019-03-11T09:07:30.132" v="531" actId="1036"/>
          <ac:spMkLst>
            <pc:docMk/>
            <pc:sldMk cId="488466181" sldId="2840"/>
            <ac:spMk id="41" creationId="{62FA95F3-2E7A-4895-A767-64083753430E}"/>
          </ac:spMkLst>
        </pc:spChg>
        <pc:spChg chg="add mod">
          <ac:chgData name="Stephane STEURS" userId="acd32063-ab0f-4460-819d-ef1a58fea78d" providerId="ADAL" clId="{F568AF0B-132A-4D88-B7F9-6C644B6D02FF}" dt="2019-03-11T09:07:30.132" v="531" actId="1036"/>
          <ac:spMkLst>
            <pc:docMk/>
            <pc:sldMk cId="488466181" sldId="2840"/>
            <ac:spMk id="42" creationId="{A581114A-8CB6-499A-80A5-7B88E8F2ECCE}"/>
          </ac:spMkLst>
        </pc:spChg>
        <pc:spChg chg="add mod">
          <ac:chgData name="Stephane STEURS" userId="acd32063-ab0f-4460-819d-ef1a58fea78d" providerId="ADAL" clId="{F568AF0B-132A-4D88-B7F9-6C644B6D02FF}" dt="2019-03-11T09:07:30.132" v="531" actId="1036"/>
          <ac:spMkLst>
            <pc:docMk/>
            <pc:sldMk cId="488466181" sldId="2840"/>
            <ac:spMk id="43" creationId="{6CCBE5BB-3401-4D80-AA1B-027E71AB2A40}"/>
          </ac:spMkLst>
        </pc:spChg>
        <pc:spChg chg="add mod">
          <ac:chgData name="Stephane STEURS" userId="acd32063-ab0f-4460-819d-ef1a58fea78d" providerId="ADAL" clId="{F568AF0B-132A-4D88-B7F9-6C644B6D02FF}" dt="2019-03-11T09:07:30.132" v="531" actId="1036"/>
          <ac:spMkLst>
            <pc:docMk/>
            <pc:sldMk cId="488466181" sldId="2840"/>
            <ac:spMk id="44" creationId="{AF48F340-8696-4011-A857-85CE6C01157A}"/>
          </ac:spMkLst>
        </pc:spChg>
        <pc:spChg chg="add mod">
          <ac:chgData name="Stephane STEURS" userId="acd32063-ab0f-4460-819d-ef1a58fea78d" providerId="ADAL" clId="{F568AF0B-132A-4D88-B7F9-6C644B6D02FF}" dt="2019-03-11T09:07:30.132" v="531" actId="1036"/>
          <ac:spMkLst>
            <pc:docMk/>
            <pc:sldMk cId="488466181" sldId="2840"/>
            <ac:spMk id="45" creationId="{B80D2297-61B8-42F5-90CF-321FAE481310}"/>
          </ac:spMkLst>
        </pc:spChg>
        <pc:spChg chg="add mod">
          <ac:chgData name="Stephane STEURS" userId="acd32063-ab0f-4460-819d-ef1a58fea78d" providerId="ADAL" clId="{F568AF0B-132A-4D88-B7F9-6C644B6D02FF}" dt="2019-03-11T09:07:30.132" v="531" actId="1036"/>
          <ac:spMkLst>
            <pc:docMk/>
            <pc:sldMk cId="488466181" sldId="2840"/>
            <ac:spMk id="47" creationId="{111C0693-3378-4E1C-ACD1-115D44A112CC}"/>
          </ac:spMkLst>
        </pc:spChg>
        <pc:spChg chg="add mod">
          <ac:chgData name="Stephane STEURS" userId="acd32063-ab0f-4460-819d-ef1a58fea78d" providerId="ADAL" clId="{F568AF0B-132A-4D88-B7F9-6C644B6D02FF}" dt="2019-03-11T09:07:30.132" v="531" actId="1036"/>
          <ac:spMkLst>
            <pc:docMk/>
            <pc:sldMk cId="488466181" sldId="2840"/>
            <ac:spMk id="48" creationId="{DFF7C92D-2CC1-4F78-BEA8-193837DC2452}"/>
          </ac:spMkLst>
        </pc:spChg>
        <pc:spChg chg="add mod">
          <ac:chgData name="Stephane STEURS" userId="acd32063-ab0f-4460-819d-ef1a58fea78d" providerId="ADAL" clId="{F568AF0B-132A-4D88-B7F9-6C644B6D02FF}" dt="2019-03-11T09:07:30.132" v="531" actId="1036"/>
          <ac:spMkLst>
            <pc:docMk/>
            <pc:sldMk cId="488466181" sldId="2840"/>
            <ac:spMk id="49" creationId="{2BF84834-5776-44AB-BA44-85BD87AFE965}"/>
          </ac:spMkLst>
        </pc:spChg>
        <pc:spChg chg="add del mod">
          <ac:chgData name="Stephane STEURS" userId="acd32063-ab0f-4460-819d-ef1a58fea78d" providerId="ADAL" clId="{F568AF0B-132A-4D88-B7F9-6C644B6D02FF}" dt="2019-03-11T09:54:35.870" v="1255" actId="478"/>
          <ac:spMkLst>
            <pc:docMk/>
            <pc:sldMk cId="488466181" sldId="2840"/>
            <ac:spMk id="50" creationId="{EAC2A79C-BAAF-4FD0-83D7-6FCF006CD484}"/>
          </ac:spMkLst>
        </pc:spChg>
        <pc:spChg chg="add mod">
          <ac:chgData name="Stephane STEURS" userId="acd32063-ab0f-4460-819d-ef1a58fea78d" providerId="ADAL" clId="{F568AF0B-132A-4D88-B7F9-6C644B6D02FF}" dt="2019-03-11T09:07:30.132" v="531" actId="1036"/>
          <ac:spMkLst>
            <pc:docMk/>
            <pc:sldMk cId="488466181" sldId="2840"/>
            <ac:spMk id="51" creationId="{9F03B22C-2590-468C-909F-7779305967CF}"/>
          </ac:spMkLst>
        </pc:spChg>
        <pc:spChg chg="add del mod">
          <ac:chgData name="Stephane STEURS" userId="acd32063-ab0f-4460-819d-ef1a58fea78d" providerId="ADAL" clId="{F568AF0B-132A-4D88-B7F9-6C644B6D02FF}" dt="2019-03-11T09:54:41.090" v="1257" actId="478"/>
          <ac:spMkLst>
            <pc:docMk/>
            <pc:sldMk cId="488466181" sldId="2840"/>
            <ac:spMk id="52" creationId="{CC59D538-A5A7-4BCB-A8A7-786BF6CE0E31}"/>
          </ac:spMkLst>
        </pc:spChg>
        <pc:spChg chg="add mod">
          <ac:chgData name="Stephane STEURS" userId="acd32063-ab0f-4460-819d-ef1a58fea78d" providerId="ADAL" clId="{F568AF0B-132A-4D88-B7F9-6C644B6D02FF}" dt="2019-03-11T09:07:30.132" v="531" actId="1036"/>
          <ac:spMkLst>
            <pc:docMk/>
            <pc:sldMk cId="488466181" sldId="2840"/>
            <ac:spMk id="59" creationId="{519B4083-963A-4814-AED3-FC0E75B8E183}"/>
          </ac:spMkLst>
        </pc:spChg>
        <pc:spChg chg="add mod">
          <ac:chgData name="Stephane STEURS" userId="acd32063-ab0f-4460-819d-ef1a58fea78d" providerId="ADAL" clId="{F568AF0B-132A-4D88-B7F9-6C644B6D02FF}" dt="2019-03-11T09:07:30.132" v="531" actId="1036"/>
          <ac:spMkLst>
            <pc:docMk/>
            <pc:sldMk cId="488466181" sldId="2840"/>
            <ac:spMk id="61" creationId="{2F4BBA55-F06B-4540-87D3-33B82E240BB9}"/>
          </ac:spMkLst>
        </pc:spChg>
        <pc:spChg chg="add mod">
          <ac:chgData name="Stephane STEURS" userId="acd32063-ab0f-4460-819d-ef1a58fea78d" providerId="ADAL" clId="{F568AF0B-132A-4D88-B7F9-6C644B6D02FF}" dt="2019-03-11T09:07:30.132" v="531" actId="1036"/>
          <ac:spMkLst>
            <pc:docMk/>
            <pc:sldMk cId="488466181" sldId="2840"/>
            <ac:spMk id="62" creationId="{3000CDD5-B746-4506-9556-ED62930F7A91}"/>
          </ac:spMkLst>
        </pc:spChg>
        <pc:spChg chg="add mod">
          <ac:chgData name="Stephane STEURS" userId="acd32063-ab0f-4460-819d-ef1a58fea78d" providerId="ADAL" clId="{F568AF0B-132A-4D88-B7F9-6C644B6D02FF}" dt="2019-03-11T09:07:30.132" v="531" actId="1036"/>
          <ac:spMkLst>
            <pc:docMk/>
            <pc:sldMk cId="488466181" sldId="2840"/>
            <ac:spMk id="63" creationId="{C22DCEFF-C951-4BEA-B769-C0848754B614}"/>
          </ac:spMkLst>
        </pc:spChg>
        <pc:spChg chg="add mod">
          <ac:chgData name="Stephane STEURS" userId="acd32063-ab0f-4460-819d-ef1a58fea78d" providerId="ADAL" clId="{F568AF0B-132A-4D88-B7F9-6C644B6D02FF}" dt="2019-03-11T09:07:30.132" v="531" actId="1036"/>
          <ac:spMkLst>
            <pc:docMk/>
            <pc:sldMk cId="488466181" sldId="2840"/>
            <ac:spMk id="64" creationId="{55C16959-A438-4050-9ADF-F6A401333F44}"/>
          </ac:spMkLst>
        </pc:spChg>
        <pc:graphicFrameChg chg="del">
          <ac:chgData name="Stephane STEURS" userId="acd32063-ab0f-4460-819d-ef1a58fea78d" providerId="ADAL" clId="{F568AF0B-132A-4D88-B7F9-6C644B6D02FF}" dt="2019-03-11T09:07:04.282" v="474" actId="478"/>
          <ac:graphicFrameMkLst>
            <pc:docMk/>
            <pc:sldMk cId="488466181" sldId="2840"/>
            <ac:graphicFrameMk id="8" creationId="{DBE83AFA-357B-4388-A5E4-22D89DCBD619}"/>
          </ac:graphicFrameMkLst>
        </pc:graphicFrameChg>
        <pc:graphicFrameChg chg="add del">
          <ac:chgData name="Stephane STEURS" userId="acd32063-ab0f-4460-819d-ef1a58fea78d" providerId="ADAL" clId="{F568AF0B-132A-4D88-B7F9-6C644B6D02FF}" dt="2019-03-11T09:07:16.952" v="487"/>
          <ac:graphicFrameMkLst>
            <pc:docMk/>
            <pc:sldMk cId="488466181" sldId="2840"/>
            <ac:graphicFrameMk id="17" creationId="{35E53118-B8BC-471F-94A4-3D716E42E9E8}"/>
          </ac:graphicFrameMkLst>
        </pc:graphicFrameChg>
        <pc:graphicFrameChg chg="add mod">
          <ac:chgData name="Stephane STEURS" userId="acd32063-ab0f-4460-819d-ef1a58fea78d" providerId="ADAL" clId="{F568AF0B-132A-4D88-B7F9-6C644B6D02FF}" dt="2019-03-11T09:07:30.132" v="531" actId="1036"/>
          <ac:graphicFrameMkLst>
            <pc:docMk/>
            <pc:sldMk cId="488466181" sldId="2840"/>
            <ac:graphicFrameMk id="46" creationId="{38DED893-DE78-4F5F-B967-8686826D87AC}"/>
          </ac:graphicFrameMkLst>
        </pc:graphicFrameChg>
        <pc:picChg chg="add del">
          <ac:chgData name="Stephane STEURS" userId="acd32063-ab0f-4460-819d-ef1a58fea78d" providerId="ADAL" clId="{F568AF0B-132A-4D88-B7F9-6C644B6D02FF}" dt="2019-03-11T09:07:16.952" v="487"/>
          <ac:picMkLst>
            <pc:docMk/>
            <pc:sldMk cId="488466181" sldId="2840"/>
            <ac:picMk id="29" creationId="{BBD84C0E-7128-43DD-83AC-3D82B0262F6E}"/>
          </ac:picMkLst>
        </pc:picChg>
        <pc:picChg chg="add mod">
          <ac:chgData name="Stephane STEURS" userId="acd32063-ab0f-4460-819d-ef1a58fea78d" providerId="ADAL" clId="{F568AF0B-132A-4D88-B7F9-6C644B6D02FF}" dt="2019-03-11T09:07:30.132" v="531" actId="1036"/>
          <ac:picMkLst>
            <pc:docMk/>
            <pc:sldMk cId="488466181" sldId="2840"/>
            <ac:picMk id="58" creationId="{9213F389-67BB-4BFF-87E7-1F14BA81FE46}"/>
          </ac:picMkLst>
        </pc:picChg>
        <pc:cxnChg chg="add del">
          <ac:chgData name="Stephane STEURS" userId="acd32063-ab0f-4460-819d-ef1a58fea78d" providerId="ADAL" clId="{F568AF0B-132A-4D88-B7F9-6C644B6D02FF}" dt="2019-03-11T09:07:16.952" v="487"/>
          <ac:cxnSpMkLst>
            <pc:docMk/>
            <pc:sldMk cId="488466181" sldId="2840"/>
            <ac:cxnSpMk id="24" creationId="{C50988BA-60B3-4803-88B9-FD382C2D4E65}"/>
          </ac:cxnSpMkLst>
        </pc:cxnChg>
        <pc:cxnChg chg="add del">
          <ac:chgData name="Stephane STEURS" userId="acd32063-ab0f-4460-819d-ef1a58fea78d" providerId="ADAL" clId="{F568AF0B-132A-4D88-B7F9-6C644B6D02FF}" dt="2019-03-11T09:07:16.952" v="487"/>
          <ac:cxnSpMkLst>
            <pc:docMk/>
            <pc:sldMk cId="488466181" sldId="2840"/>
            <ac:cxnSpMk id="25" creationId="{72C70EE8-919C-4997-8363-05ED5F27A45B}"/>
          </ac:cxnSpMkLst>
        </pc:cxnChg>
        <pc:cxnChg chg="add del">
          <ac:chgData name="Stephane STEURS" userId="acd32063-ab0f-4460-819d-ef1a58fea78d" providerId="ADAL" clId="{F568AF0B-132A-4D88-B7F9-6C644B6D02FF}" dt="2019-03-11T09:07:16.952" v="487"/>
          <ac:cxnSpMkLst>
            <pc:docMk/>
            <pc:sldMk cId="488466181" sldId="2840"/>
            <ac:cxnSpMk id="26" creationId="{85B7E1DE-8C01-4771-9AD2-1C99C56163E5}"/>
          </ac:cxnSpMkLst>
        </pc:cxnChg>
        <pc:cxnChg chg="add del">
          <ac:chgData name="Stephane STEURS" userId="acd32063-ab0f-4460-819d-ef1a58fea78d" providerId="ADAL" clId="{F568AF0B-132A-4D88-B7F9-6C644B6D02FF}" dt="2019-03-11T09:07:16.952" v="487"/>
          <ac:cxnSpMkLst>
            <pc:docMk/>
            <pc:sldMk cId="488466181" sldId="2840"/>
            <ac:cxnSpMk id="27" creationId="{F0193344-BBC3-471C-821B-58EB8A55DD01}"/>
          </ac:cxnSpMkLst>
        </pc:cxnChg>
        <pc:cxnChg chg="add del">
          <ac:chgData name="Stephane STEURS" userId="acd32063-ab0f-4460-819d-ef1a58fea78d" providerId="ADAL" clId="{F568AF0B-132A-4D88-B7F9-6C644B6D02FF}" dt="2019-03-11T09:07:16.952" v="487"/>
          <ac:cxnSpMkLst>
            <pc:docMk/>
            <pc:sldMk cId="488466181" sldId="2840"/>
            <ac:cxnSpMk id="28" creationId="{95FCF192-E3FC-4313-A71A-0C9EEE3619D3}"/>
          </ac:cxnSpMkLst>
        </pc:cxnChg>
        <pc:cxnChg chg="add del">
          <ac:chgData name="Stephane STEURS" userId="acd32063-ab0f-4460-819d-ef1a58fea78d" providerId="ADAL" clId="{F568AF0B-132A-4D88-B7F9-6C644B6D02FF}" dt="2019-03-11T09:07:16.952" v="487"/>
          <ac:cxnSpMkLst>
            <pc:docMk/>
            <pc:sldMk cId="488466181" sldId="2840"/>
            <ac:cxnSpMk id="31" creationId="{99E69D4C-CE3E-47F2-8F59-01F43144B3ED}"/>
          </ac:cxnSpMkLst>
        </pc:cxnChg>
        <pc:cxnChg chg="add del">
          <ac:chgData name="Stephane STEURS" userId="acd32063-ab0f-4460-819d-ef1a58fea78d" providerId="ADAL" clId="{F568AF0B-132A-4D88-B7F9-6C644B6D02FF}" dt="2019-03-11T09:07:16.952" v="487"/>
          <ac:cxnSpMkLst>
            <pc:docMk/>
            <pc:sldMk cId="488466181" sldId="2840"/>
            <ac:cxnSpMk id="36" creationId="{77CF4D12-8D35-496D-B1D3-575EF74489D8}"/>
          </ac:cxnSpMkLst>
        </pc:cxnChg>
        <pc:cxnChg chg="add del">
          <ac:chgData name="Stephane STEURS" userId="acd32063-ab0f-4460-819d-ef1a58fea78d" providerId="ADAL" clId="{F568AF0B-132A-4D88-B7F9-6C644B6D02FF}" dt="2019-03-11T09:07:16.952" v="487"/>
          <ac:cxnSpMkLst>
            <pc:docMk/>
            <pc:sldMk cId="488466181" sldId="2840"/>
            <ac:cxnSpMk id="37" creationId="{CEC8FF17-202E-48FD-99D3-324AAA502ECB}"/>
          </ac:cxnSpMkLst>
        </pc:cxnChg>
        <pc:cxnChg chg="add del mod">
          <ac:chgData name="Stephane STEURS" userId="acd32063-ab0f-4460-819d-ef1a58fea78d" providerId="ADAL" clId="{F568AF0B-132A-4D88-B7F9-6C644B6D02FF}" dt="2019-03-11T09:54:44.740" v="1259" actId="478"/>
          <ac:cxnSpMkLst>
            <pc:docMk/>
            <pc:sldMk cId="488466181" sldId="2840"/>
            <ac:cxnSpMk id="53" creationId="{F38CB855-3908-424B-90C8-F11DCFC1D084}"/>
          </ac:cxnSpMkLst>
        </pc:cxnChg>
        <pc:cxnChg chg="add del mod">
          <ac:chgData name="Stephane STEURS" userId="acd32063-ab0f-4460-819d-ef1a58fea78d" providerId="ADAL" clId="{F568AF0B-132A-4D88-B7F9-6C644B6D02FF}" dt="2019-03-11T09:54:47.850" v="1261" actId="478"/>
          <ac:cxnSpMkLst>
            <pc:docMk/>
            <pc:sldMk cId="488466181" sldId="2840"/>
            <ac:cxnSpMk id="54" creationId="{AC28F317-AC19-45A1-81BD-7C38DD457824}"/>
          </ac:cxnSpMkLst>
        </pc:cxnChg>
        <pc:cxnChg chg="add mod">
          <ac:chgData name="Stephane STEURS" userId="acd32063-ab0f-4460-819d-ef1a58fea78d" providerId="ADAL" clId="{F568AF0B-132A-4D88-B7F9-6C644B6D02FF}" dt="2019-03-11T09:07:30.132" v="531" actId="1036"/>
          <ac:cxnSpMkLst>
            <pc:docMk/>
            <pc:sldMk cId="488466181" sldId="2840"/>
            <ac:cxnSpMk id="55" creationId="{D8C8B0BC-5448-400F-9FD0-F844C9DF4A6E}"/>
          </ac:cxnSpMkLst>
        </pc:cxnChg>
        <pc:cxnChg chg="add del mod">
          <ac:chgData name="Stephane STEURS" userId="acd32063-ab0f-4460-819d-ef1a58fea78d" providerId="ADAL" clId="{F568AF0B-132A-4D88-B7F9-6C644B6D02FF}" dt="2019-03-11T09:54:46.310" v="1260" actId="478"/>
          <ac:cxnSpMkLst>
            <pc:docMk/>
            <pc:sldMk cId="488466181" sldId="2840"/>
            <ac:cxnSpMk id="56" creationId="{33634DD6-1879-41B6-B512-5BEA9BB92161}"/>
          </ac:cxnSpMkLst>
        </pc:cxnChg>
        <pc:cxnChg chg="add mod">
          <ac:chgData name="Stephane STEURS" userId="acd32063-ab0f-4460-819d-ef1a58fea78d" providerId="ADAL" clId="{F568AF0B-132A-4D88-B7F9-6C644B6D02FF}" dt="2019-03-11T09:07:30.132" v="531" actId="1036"/>
          <ac:cxnSpMkLst>
            <pc:docMk/>
            <pc:sldMk cId="488466181" sldId="2840"/>
            <ac:cxnSpMk id="57" creationId="{53C295D5-15CB-4F52-ADC4-61EC95D172D9}"/>
          </ac:cxnSpMkLst>
        </pc:cxnChg>
        <pc:cxnChg chg="add mod">
          <ac:chgData name="Stephane STEURS" userId="acd32063-ab0f-4460-819d-ef1a58fea78d" providerId="ADAL" clId="{F568AF0B-132A-4D88-B7F9-6C644B6D02FF}" dt="2019-03-11T09:07:30.132" v="531" actId="1036"/>
          <ac:cxnSpMkLst>
            <pc:docMk/>
            <pc:sldMk cId="488466181" sldId="2840"/>
            <ac:cxnSpMk id="60" creationId="{19AFFF08-90A9-4D7E-B517-15A47C639EEB}"/>
          </ac:cxnSpMkLst>
        </pc:cxnChg>
        <pc:cxnChg chg="add mod">
          <ac:chgData name="Stephane STEURS" userId="acd32063-ab0f-4460-819d-ef1a58fea78d" providerId="ADAL" clId="{F568AF0B-132A-4D88-B7F9-6C644B6D02FF}" dt="2019-03-11T09:07:30.132" v="531" actId="1036"/>
          <ac:cxnSpMkLst>
            <pc:docMk/>
            <pc:sldMk cId="488466181" sldId="2840"/>
            <ac:cxnSpMk id="65" creationId="{57FBA6B7-B942-456A-A59A-DFF0E867DD5C}"/>
          </ac:cxnSpMkLst>
        </pc:cxnChg>
        <pc:cxnChg chg="add mod">
          <ac:chgData name="Stephane STEURS" userId="acd32063-ab0f-4460-819d-ef1a58fea78d" providerId="ADAL" clId="{F568AF0B-132A-4D88-B7F9-6C644B6D02FF}" dt="2019-03-11T09:07:30.132" v="531" actId="1036"/>
          <ac:cxnSpMkLst>
            <pc:docMk/>
            <pc:sldMk cId="488466181" sldId="2840"/>
            <ac:cxnSpMk id="66" creationId="{89EDEB0D-108B-4AEB-A263-A64D5B9B9804}"/>
          </ac:cxnSpMkLst>
        </pc:cxnChg>
      </pc:sldChg>
      <pc:sldChg chg="modSp add">
        <pc:chgData name="Stephane STEURS" userId="acd32063-ab0f-4460-819d-ef1a58fea78d" providerId="ADAL" clId="{F568AF0B-132A-4D88-B7F9-6C644B6D02FF}" dt="2019-03-11T09:51:06.414" v="1253" actId="313"/>
        <pc:sldMkLst>
          <pc:docMk/>
          <pc:sldMk cId="499736723" sldId="2841"/>
        </pc:sldMkLst>
        <pc:spChg chg="mod">
          <ac:chgData name="Stephane STEURS" userId="acd32063-ab0f-4460-819d-ef1a58fea78d" providerId="ADAL" clId="{F568AF0B-132A-4D88-B7F9-6C644B6D02FF}" dt="2019-03-11T09:51:06.414" v="1253" actId="313"/>
          <ac:spMkLst>
            <pc:docMk/>
            <pc:sldMk cId="499736723" sldId="2841"/>
            <ac:spMk id="4" creationId="{395C05EB-1E4D-4E17-A2EF-E7FB6CCA96C4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8039" cy="49689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4394" y="1"/>
            <a:ext cx="2949630" cy="49689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r>
              <a:rPr lang="fr-FR"/>
              <a:t>CONFIDENTIALITY LEVEL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1" y="9444057"/>
            <a:ext cx="2948039" cy="49846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r>
              <a:rPr lang="fr-FR"/>
              <a:t>Title of the presentation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4394" y="9444057"/>
            <a:ext cx="2949630" cy="49846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A45A4975-6CFE-4840-9B29-7E8FF68A7FDB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0804022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8039" cy="49689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4394" y="1"/>
            <a:ext cx="2949630" cy="49689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r>
              <a:rPr lang="fr-FR" dirty="0"/>
              <a:t>CONFIDENTIALITY LEVEL</a:t>
            </a:r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6125"/>
            <a:ext cx="662781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0562" y="4722816"/>
            <a:ext cx="5444490" cy="44751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9444057"/>
            <a:ext cx="2948039" cy="49846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presentation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4394" y="9444057"/>
            <a:ext cx="2949630" cy="49846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930332B2-55D9-421F-A138-9E18F33D61D4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7892981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5115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70230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605346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40462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75577" algn="l" defTabSz="107023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10692" algn="l" defTabSz="107023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745806" algn="l" defTabSz="107023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280922" algn="l" defTabSz="107023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88900" y="746125"/>
            <a:ext cx="6627813" cy="3729038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noProof="0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fr-FR" dirty="0"/>
              <a:t>CONFIDENTIALITY LEVEL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 err="1"/>
              <a:t>Title</a:t>
            </a:r>
            <a:r>
              <a:rPr lang="fr-FR"/>
              <a:t> of the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332B2-55D9-421F-A138-9E18F33D61D4}" type="slidenum">
              <a:rPr lang="fr-FR" smtClean="0"/>
              <a:pPr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728890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fr-FR"/>
              <a:t>CONFIDENTIALITY LEVEL</a:t>
            </a:r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le of the presentation</a:t>
            </a:r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332B2-55D9-421F-A138-9E18F33D61D4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526232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fr-FR"/>
              <a:t>CONFIDENTIALITY LEVEL</a:t>
            </a:r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le of the presentation</a:t>
            </a:r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332B2-55D9-421F-A138-9E18F33D61D4}" type="slidenum">
              <a:rPr lang="fr-FR" smtClean="0"/>
              <a:p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17378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fr-FR"/>
              <a:t>CONFIDENTIALITY LEVEL</a:t>
            </a:r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le of the presentation</a:t>
            </a:r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332B2-55D9-421F-A138-9E18F33D61D4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847712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fr-FR"/>
              <a:t>CONFIDENTIALITY LEVEL</a:t>
            </a:r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le of the presentation</a:t>
            </a:r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332B2-55D9-421F-A138-9E18F33D61D4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99497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fr-FR"/>
              <a:t>CONFIDENTIALITY LEVEL</a:t>
            </a:r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le of the presentation</a:t>
            </a:r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332B2-55D9-421F-A138-9E18F33D61D4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42996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fr-FR"/>
              <a:t>CONFIDENTIALITY LEVEL</a:t>
            </a:r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le of the presentation</a:t>
            </a:r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332B2-55D9-421F-A138-9E18F33D61D4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70849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gif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gif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gi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gif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2.gi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gif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gi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2.gif"/><Relationship Id="rId4" Type="http://schemas.openxmlformats.org/officeDocument/2006/relationships/image" Target="../media/image11.gi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gi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gif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.gif"/><Relationship Id="rId4" Type="http://schemas.openxmlformats.org/officeDocument/2006/relationships/image" Target="../media/image11.gi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gif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k object 16"/>
          <p:cNvSpPr>
            <a:spLocks/>
          </p:cNvSpPr>
          <p:nvPr userDrawn="1"/>
        </p:nvSpPr>
        <p:spPr bwMode="auto">
          <a:xfrm>
            <a:off x="0" y="1"/>
            <a:ext cx="9144000" cy="5143500"/>
          </a:xfrm>
          <a:custGeom>
            <a:avLst/>
            <a:gdLst>
              <a:gd name="T0" fmla="*/ 0 w 10692130"/>
              <a:gd name="T1" fmla="*/ 28 h 7560309"/>
              <a:gd name="T2" fmla="*/ 7838 w 10692130"/>
              <a:gd name="T3" fmla="*/ 28 h 7560309"/>
              <a:gd name="T4" fmla="*/ 7838 w 10692130"/>
              <a:gd name="T5" fmla="*/ 0 h 7560309"/>
              <a:gd name="T6" fmla="*/ 0 w 10692130"/>
              <a:gd name="T7" fmla="*/ 0 h 7560309"/>
              <a:gd name="T8" fmla="*/ 0 w 10692130"/>
              <a:gd name="T9" fmla="*/ 28 h 75603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692130" h="7560309">
                <a:moveTo>
                  <a:pt x="0" y="7559992"/>
                </a:moveTo>
                <a:lnTo>
                  <a:pt x="10692003" y="7559992"/>
                </a:lnTo>
                <a:lnTo>
                  <a:pt x="10692003" y="0"/>
                </a:lnTo>
                <a:lnTo>
                  <a:pt x="0" y="0"/>
                </a:lnTo>
                <a:lnTo>
                  <a:pt x="0" y="7559992"/>
                </a:lnTo>
                <a:close/>
              </a:path>
            </a:pathLst>
          </a:custGeom>
          <a:solidFill>
            <a:srgbClr val="0A7380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fr-FR">
              <a:latin typeface="+mj-lt"/>
            </a:endParaRPr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 rotWithShape="1">
          <a:blip r:embed="rId2" cstate="email"/>
          <a:srcRect/>
          <a:stretch/>
        </p:blipFill>
        <p:spPr bwMode="auto">
          <a:xfrm>
            <a:off x="0" y="1292602"/>
            <a:ext cx="4571071" cy="3850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re 11"/>
          <p:cNvSpPr>
            <a:spLocks noGrp="1"/>
          </p:cNvSpPr>
          <p:nvPr>
            <p:ph type="title" hasCustomPrompt="1"/>
          </p:nvPr>
        </p:nvSpPr>
        <p:spPr>
          <a:xfrm>
            <a:off x="1372180" y="1925196"/>
            <a:ext cx="7651171" cy="2237136"/>
          </a:xfrm>
          <a:prstGeom prst="rect">
            <a:avLst/>
          </a:prstGeom>
        </p:spPr>
        <p:txBody>
          <a:bodyPr lIns="81628" tIns="40814" rIns="81628" bIns="40814"/>
          <a:lstStyle>
            <a:lvl1pPr marL="0" indent="1037361" algn="l">
              <a:defRPr sz="5000" b="1">
                <a:solidFill>
                  <a:schemeClr val="bg1"/>
                </a:solidFill>
                <a:latin typeface="Source Sans Pro" pitchFamily="34" charset="0"/>
              </a:defRPr>
            </a:lvl1pPr>
          </a:lstStyle>
          <a:p>
            <a:r>
              <a:rPr lang="en-US" noProof="0" dirty="0"/>
              <a:t>Insert title of the       presentation in bold here</a:t>
            </a:r>
          </a:p>
        </p:txBody>
      </p:sp>
      <p:sp>
        <p:nvSpPr>
          <p:cNvPr id="14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6258689" y="4759837"/>
            <a:ext cx="2696400" cy="264600"/>
          </a:xfrm>
          <a:prstGeom prst="rect">
            <a:avLst/>
          </a:prstGeom>
        </p:spPr>
        <p:txBody>
          <a:bodyPr wrap="square" lIns="81628" tIns="40814" rIns="81628" bIns="40814" anchor="ctr">
            <a:spAutoFit/>
          </a:bodyPr>
          <a:lstStyle>
            <a:lvl1pPr marL="0" indent="0" algn="r">
              <a:lnSpc>
                <a:spcPct val="90000"/>
              </a:lnSpc>
              <a:buNone/>
              <a:defRPr sz="1300" b="0">
                <a:solidFill>
                  <a:schemeClr val="bg1"/>
                </a:solidFill>
              </a:defRPr>
            </a:lvl1pPr>
            <a:lvl2pPr marL="306107" indent="0" algn="ctr">
              <a:buNone/>
              <a:defRPr sz="1300"/>
            </a:lvl2pPr>
            <a:lvl3pPr marL="612213" indent="0" algn="ctr">
              <a:buNone/>
              <a:defRPr sz="1200"/>
            </a:lvl3pPr>
            <a:lvl4pPr marL="918320" indent="0" algn="ctr">
              <a:buNone/>
              <a:defRPr sz="1100"/>
            </a:lvl4pPr>
            <a:lvl5pPr marL="1224427" indent="0" algn="ctr">
              <a:buNone/>
              <a:defRPr sz="1100"/>
            </a:lvl5pPr>
            <a:lvl6pPr marL="1530534" indent="0" algn="ctr">
              <a:buNone/>
              <a:defRPr sz="1100"/>
            </a:lvl6pPr>
            <a:lvl7pPr marL="1836640" indent="0" algn="ctr">
              <a:buNone/>
              <a:defRPr sz="1100"/>
            </a:lvl7pPr>
            <a:lvl8pPr marL="2142747" indent="0" algn="ctr">
              <a:buNone/>
              <a:defRPr sz="1100"/>
            </a:lvl8pPr>
            <a:lvl9pPr marL="2448853" indent="0" algn="ctr">
              <a:buNone/>
              <a:defRPr sz="1100"/>
            </a:lvl9pPr>
          </a:lstStyle>
          <a:p>
            <a:r>
              <a:rPr lang="en-US" noProof="0" dirty="0"/>
              <a:t>Date - Place</a:t>
            </a:r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2" hasCustomPrompt="1"/>
          </p:nvPr>
        </p:nvSpPr>
        <p:spPr>
          <a:xfrm>
            <a:off x="6258689" y="4510088"/>
            <a:ext cx="2696400" cy="264600"/>
          </a:xfrm>
          <a:prstGeom prst="rect">
            <a:avLst/>
          </a:prstGeom>
        </p:spPr>
        <p:txBody>
          <a:bodyPr lIns="81628" tIns="40814" rIns="81628" bIns="40814" anchor="ctr"/>
          <a:lstStyle>
            <a:lvl1pPr marL="0" indent="0" algn="r"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Speaker/Team/Other</a:t>
            </a:r>
          </a:p>
        </p:txBody>
      </p:sp>
      <p:pic>
        <p:nvPicPr>
          <p:cNvPr id="1026" name="Picture 2" descr="C:\_Clients\PPT\cdg-ppt\docs-client\axa_logo_open_white_rgb.emf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4000" y="265113"/>
            <a:ext cx="522000" cy="5220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bl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Espace réservé du texte 19"/>
          <p:cNvSpPr>
            <a:spLocks noGrp="1"/>
          </p:cNvSpPr>
          <p:nvPr>
            <p:ph type="body" sz="quarter" idx="17" hasCustomPrompt="1"/>
          </p:nvPr>
        </p:nvSpPr>
        <p:spPr>
          <a:xfrm>
            <a:off x="5564088" y="1478774"/>
            <a:ext cx="3257177" cy="2185953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None/>
              <a:defRPr sz="16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IT Deep Dive l September 2018</a:t>
            </a:r>
            <a:endParaRPr lang="en-US" noProof="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19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234951" y="1478775"/>
            <a:ext cx="4335463" cy="2185952"/>
          </a:xfrm>
          <a:prstGeom prst="rect">
            <a:avLst/>
          </a:prstGeom>
        </p:spPr>
        <p:txBody>
          <a:bodyPr lIns="0" tIns="0" rIns="0" bIns="0" anchor="ctr"/>
          <a:lstStyle>
            <a:lvl1pPr marL="341345" indent="-341345">
              <a:buSzPct val="120000"/>
              <a:buFontTx/>
              <a:buBlip>
                <a:blip r:embed="rId2"/>
              </a:buBlip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fr-FR" dirty="0"/>
          </a:p>
        </p:txBody>
      </p:sp>
      <p:pic>
        <p:nvPicPr>
          <p:cNvPr id="11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81546" y="4877227"/>
            <a:ext cx="176979" cy="17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ommaire"/>
          <p:cNvSpPr>
            <a:spLocks noGrp="1"/>
          </p:cNvSpPr>
          <p:nvPr>
            <p:ph type="title" hasCustomPrompt="1"/>
          </p:nvPr>
        </p:nvSpPr>
        <p:spPr>
          <a:xfrm>
            <a:off x="234000" y="205978"/>
            <a:ext cx="8820000" cy="352822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defRPr sz="2400">
                <a:solidFill>
                  <a:srgbClr val="00008F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noProof="0" dirty="0"/>
              <a:t>Title </a:t>
            </a:r>
          </a:p>
        </p:txBody>
      </p:sp>
      <p:sp>
        <p:nvSpPr>
          <p:cNvPr id="18" name="Espace réservé du texte 4"/>
          <p:cNvSpPr>
            <a:spLocks noGrp="1"/>
          </p:cNvSpPr>
          <p:nvPr>
            <p:ph type="body" sz="quarter" idx="18" hasCustomPrompt="1"/>
          </p:nvPr>
        </p:nvSpPr>
        <p:spPr>
          <a:xfrm>
            <a:off x="233999" y="571705"/>
            <a:ext cx="8820000" cy="28554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800">
                <a:solidFill>
                  <a:srgbClr val="02718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/>
              <a:t>Subtitle or next title (optional)</a:t>
            </a:r>
          </a:p>
        </p:txBody>
      </p:sp>
      <p:grpSp>
        <p:nvGrpSpPr>
          <p:cNvPr id="20" name="Groupe 5"/>
          <p:cNvGrpSpPr/>
          <p:nvPr userDrawn="1"/>
        </p:nvGrpSpPr>
        <p:grpSpPr>
          <a:xfrm>
            <a:off x="4326923" y="2198769"/>
            <a:ext cx="743595" cy="742788"/>
            <a:chOff x="-1206500" y="1404938"/>
            <a:chExt cx="1463675" cy="1462087"/>
          </a:xfrm>
        </p:grpSpPr>
        <p:sp>
          <p:nvSpPr>
            <p:cNvPr id="21" name="Freeform 5"/>
            <p:cNvSpPr>
              <a:spLocks/>
            </p:cNvSpPr>
            <p:nvPr/>
          </p:nvSpPr>
          <p:spPr bwMode="auto">
            <a:xfrm>
              <a:off x="-1206500" y="1404938"/>
              <a:ext cx="1463675" cy="1462087"/>
            </a:xfrm>
            <a:custGeom>
              <a:avLst/>
              <a:gdLst/>
              <a:ahLst/>
              <a:cxnLst>
                <a:cxn ang="0">
                  <a:pos x="1842" y="969"/>
                </a:cxn>
                <a:cxn ang="0">
                  <a:pos x="1824" y="1107"/>
                </a:cxn>
                <a:cxn ang="0">
                  <a:pos x="1787" y="1237"/>
                </a:cxn>
                <a:cxn ang="0">
                  <a:pos x="1732" y="1361"/>
                </a:cxn>
                <a:cxn ang="0">
                  <a:pos x="1660" y="1473"/>
                </a:cxn>
                <a:cxn ang="0">
                  <a:pos x="1574" y="1572"/>
                </a:cxn>
                <a:cxn ang="0">
                  <a:pos x="1473" y="1660"/>
                </a:cxn>
                <a:cxn ang="0">
                  <a:pos x="1361" y="1731"/>
                </a:cxn>
                <a:cxn ang="0">
                  <a:pos x="1239" y="1787"/>
                </a:cxn>
                <a:cxn ang="0">
                  <a:pos x="1107" y="1824"/>
                </a:cxn>
                <a:cxn ang="0">
                  <a:pos x="969" y="1842"/>
                </a:cxn>
                <a:cxn ang="0">
                  <a:pos x="875" y="1842"/>
                </a:cxn>
                <a:cxn ang="0">
                  <a:pos x="737" y="1824"/>
                </a:cxn>
                <a:cxn ang="0">
                  <a:pos x="605" y="1787"/>
                </a:cxn>
                <a:cxn ang="0">
                  <a:pos x="483" y="1731"/>
                </a:cxn>
                <a:cxn ang="0">
                  <a:pos x="371" y="1660"/>
                </a:cxn>
                <a:cxn ang="0">
                  <a:pos x="270" y="1572"/>
                </a:cxn>
                <a:cxn ang="0">
                  <a:pos x="184" y="1473"/>
                </a:cxn>
                <a:cxn ang="0">
                  <a:pos x="111" y="1361"/>
                </a:cxn>
                <a:cxn ang="0">
                  <a:pos x="55" y="1237"/>
                </a:cxn>
                <a:cxn ang="0">
                  <a:pos x="20" y="1107"/>
                </a:cxn>
                <a:cxn ang="0">
                  <a:pos x="2" y="969"/>
                </a:cxn>
                <a:cxn ang="0">
                  <a:pos x="2" y="873"/>
                </a:cxn>
                <a:cxn ang="0">
                  <a:pos x="20" y="735"/>
                </a:cxn>
                <a:cxn ang="0">
                  <a:pos x="55" y="605"/>
                </a:cxn>
                <a:cxn ang="0">
                  <a:pos x="111" y="481"/>
                </a:cxn>
                <a:cxn ang="0">
                  <a:pos x="184" y="369"/>
                </a:cxn>
                <a:cxn ang="0">
                  <a:pos x="270" y="270"/>
                </a:cxn>
                <a:cxn ang="0">
                  <a:pos x="371" y="182"/>
                </a:cxn>
                <a:cxn ang="0">
                  <a:pos x="483" y="111"/>
                </a:cxn>
                <a:cxn ang="0">
                  <a:pos x="605" y="55"/>
                </a:cxn>
                <a:cxn ang="0">
                  <a:pos x="737" y="18"/>
                </a:cxn>
                <a:cxn ang="0">
                  <a:pos x="875" y="0"/>
                </a:cxn>
                <a:cxn ang="0">
                  <a:pos x="969" y="0"/>
                </a:cxn>
                <a:cxn ang="0">
                  <a:pos x="1107" y="18"/>
                </a:cxn>
                <a:cxn ang="0">
                  <a:pos x="1239" y="55"/>
                </a:cxn>
                <a:cxn ang="0">
                  <a:pos x="1361" y="111"/>
                </a:cxn>
                <a:cxn ang="0">
                  <a:pos x="1473" y="182"/>
                </a:cxn>
                <a:cxn ang="0">
                  <a:pos x="1574" y="270"/>
                </a:cxn>
                <a:cxn ang="0">
                  <a:pos x="1660" y="369"/>
                </a:cxn>
                <a:cxn ang="0">
                  <a:pos x="1732" y="481"/>
                </a:cxn>
                <a:cxn ang="0">
                  <a:pos x="1787" y="605"/>
                </a:cxn>
                <a:cxn ang="0">
                  <a:pos x="1824" y="735"/>
                </a:cxn>
                <a:cxn ang="0">
                  <a:pos x="1842" y="873"/>
                </a:cxn>
              </a:cxnLst>
              <a:rect l="0" t="0" r="r" b="b"/>
              <a:pathLst>
                <a:path w="1844" h="1842">
                  <a:moveTo>
                    <a:pt x="1844" y="922"/>
                  </a:moveTo>
                  <a:lnTo>
                    <a:pt x="1844" y="922"/>
                  </a:lnTo>
                  <a:lnTo>
                    <a:pt x="1842" y="969"/>
                  </a:lnTo>
                  <a:lnTo>
                    <a:pt x="1839" y="1014"/>
                  </a:lnTo>
                  <a:lnTo>
                    <a:pt x="1833" y="1062"/>
                  </a:lnTo>
                  <a:lnTo>
                    <a:pt x="1824" y="1107"/>
                  </a:lnTo>
                  <a:lnTo>
                    <a:pt x="1815" y="1151"/>
                  </a:lnTo>
                  <a:lnTo>
                    <a:pt x="1802" y="1195"/>
                  </a:lnTo>
                  <a:lnTo>
                    <a:pt x="1787" y="1237"/>
                  </a:lnTo>
                  <a:lnTo>
                    <a:pt x="1771" y="1279"/>
                  </a:lnTo>
                  <a:lnTo>
                    <a:pt x="1753" y="1320"/>
                  </a:lnTo>
                  <a:lnTo>
                    <a:pt x="1732" y="1361"/>
                  </a:lnTo>
                  <a:lnTo>
                    <a:pt x="1711" y="1398"/>
                  </a:lnTo>
                  <a:lnTo>
                    <a:pt x="1686" y="1436"/>
                  </a:lnTo>
                  <a:lnTo>
                    <a:pt x="1660" y="1473"/>
                  </a:lnTo>
                  <a:lnTo>
                    <a:pt x="1633" y="1507"/>
                  </a:lnTo>
                  <a:lnTo>
                    <a:pt x="1605" y="1541"/>
                  </a:lnTo>
                  <a:lnTo>
                    <a:pt x="1574" y="1572"/>
                  </a:lnTo>
                  <a:lnTo>
                    <a:pt x="1542" y="1603"/>
                  </a:lnTo>
                  <a:lnTo>
                    <a:pt x="1509" y="1632"/>
                  </a:lnTo>
                  <a:lnTo>
                    <a:pt x="1473" y="1660"/>
                  </a:lnTo>
                  <a:lnTo>
                    <a:pt x="1437" y="1686"/>
                  </a:lnTo>
                  <a:lnTo>
                    <a:pt x="1400" y="1709"/>
                  </a:lnTo>
                  <a:lnTo>
                    <a:pt x="1361" y="1731"/>
                  </a:lnTo>
                  <a:lnTo>
                    <a:pt x="1322" y="1753"/>
                  </a:lnTo>
                  <a:lnTo>
                    <a:pt x="1281" y="1770"/>
                  </a:lnTo>
                  <a:lnTo>
                    <a:pt x="1239" y="1787"/>
                  </a:lnTo>
                  <a:lnTo>
                    <a:pt x="1197" y="1801"/>
                  </a:lnTo>
                  <a:lnTo>
                    <a:pt x="1153" y="1814"/>
                  </a:lnTo>
                  <a:lnTo>
                    <a:pt x="1107" y="1824"/>
                  </a:lnTo>
                  <a:lnTo>
                    <a:pt x="1062" y="1832"/>
                  </a:lnTo>
                  <a:lnTo>
                    <a:pt x="1016" y="1839"/>
                  </a:lnTo>
                  <a:lnTo>
                    <a:pt x="969" y="1842"/>
                  </a:lnTo>
                  <a:lnTo>
                    <a:pt x="922" y="1842"/>
                  </a:lnTo>
                  <a:lnTo>
                    <a:pt x="922" y="1842"/>
                  </a:lnTo>
                  <a:lnTo>
                    <a:pt x="875" y="1842"/>
                  </a:lnTo>
                  <a:lnTo>
                    <a:pt x="828" y="1839"/>
                  </a:lnTo>
                  <a:lnTo>
                    <a:pt x="782" y="1832"/>
                  </a:lnTo>
                  <a:lnTo>
                    <a:pt x="737" y="1824"/>
                  </a:lnTo>
                  <a:lnTo>
                    <a:pt x="691" y="1814"/>
                  </a:lnTo>
                  <a:lnTo>
                    <a:pt x="647" y="1801"/>
                  </a:lnTo>
                  <a:lnTo>
                    <a:pt x="605" y="1787"/>
                  </a:lnTo>
                  <a:lnTo>
                    <a:pt x="563" y="1770"/>
                  </a:lnTo>
                  <a:lnTo>
                    <a:pt x="522" y="1753"/>
                  </a:lnTo>
                  <a:lnTo>
                    <a:pt x="483" y="1731"/>
                  </a:lnTo>
                  <a:lnTo>
                    <a:pt x="444" y="1709"/>
                  </a:lnTo>
                  <a:lnTo>
                    <a:pt x="407" y="1686"/>
                  </a:lnTo>
                  <a:lnTo>
                    <a:pt x="371" y="1660"/>
                  </a:lnTo>
                  <a:lnTo>
                    <a:pt x="335" y="1632"/>
                  </a:lnTo>
                  <a:lnTo>
                    <a:pt x="302" y="1603"/>
                  </a:lnTo>
                  <a:lnTo>
                    <a:pt x="270" y="1572"/>
                  </a:lnTo>
                  <a:lnTo>
                    <a:pt x="239" y="1541"/>
                  </a:lnTo>
                  <a:lnTo>
                    <a:pt x="210" y="1507"/>
                  </a:lnTo>
                  <a:lnTo>
                    <a:pt x="184" y="1473"/>
                  </a:lnTo>
                  <a:lnTo>
                    <a:pt x="158" y="1436"/>
                  </a:lnTo>
                  <a:lnTo>
                    <a:pt x="133" y="1398"/>
                  </a:lnTo>
                  <a:lnTo>
                    <a:pt x="111" y="1361"/>
                  </a:lnTo>
                  <a:lnTo>
                    <a:pt x="91" y="1320"/>
                  </a:lnTo>
                  <a:lnTo>
                    <a:pt x="73" y="1279"/>
                  </a:lnTo>
                  <a:lnTo>
                    <a:pt x="55" y="1237"/>
                  </a:lnTo>
                  <a:lnTo>
                    <a:pt x="41" y="1195"/>
                  </a:lnTo>
                  <a:lnTo>
                    <a:pt x="29" y="1151"/>
                  </a:lnTo>
                  <a:lnTo>
                    <a:pt x="20" y="1107"/>
                  </a:lnTo>
                  <a:lnTo>
                    <a:pt x="11" y="1062"/>
                  </a:lnTo>
                  <a:lnTo>
                    <a:pt x="5" y="1014"/>
                  </a:lnTo>
                  <a:lnTo>
                    <a:pt x="2" y="969"/>
                  </a:lnTo>
                  <a:lnTo>
                    <a:pt x="0" y="922"/>
                  </a:lnTo>
                  <a:lnTo>
                    <a:pt x="0" y="922"/>
                  </a:lnTo>
                  <a:lnTo>
                    <a:pt x="2" y="873"/>
                  </a:lnTo>
                  <a:lnTo>
                    <a:pt x="5" y="828"/>
                  </a:lnTo>
                  <a:lnTo>
                    <a:pt x="11" y="780"/>
                  </a:lnTo>
                  <a:lnTo>
                    <a:pt x="20" y="735"/>
                  </a:lnTo>
                  <a:lnTo>
                    <a:pt x="29" y="691"/>
                  </a:lnTo>
                  <a:lnTo>
                    <a:pt x="41" y="647"/>
                  </a:lnTo>
                  <a:lnTo>
                    <a:pt x="55" y="605"/>
                  </a:lnTo>
                  <a:lnTo>
                    <a:pt x="73" y="563"/>
                  </a:lnTo>
                  <a:lnTo>
                    <a:pt x="91" y="522"/>
                  </a:lnTo>
                  <a:lnTo>
                    <a:pt x="111" y="481"/>
                  </a:lnTo>
                  <a:lnTo>
                    <a:pt x="133" y="444"/>
                  </a:lnTo>
                  <a:lnTo>
                    <a:pt x="158" y="406"/>
                  </a:lnTo>
                  <a:lnTo>
                    <a:pt x="184" y="369"/>
                  </a:lnTo>
                  <a:lnTo>
                    <a:pt x="210" y="335"/>
                  </a:lnTo>
                  <a:lnTo>
                    <a:pt x="239" y="301"/>
                  </a:lnTo>
                  <a:lnTo>
                    <a:pt x="270" y="270"/>
                  </a:lnTo>
                  <a:lnTo>
                    <a:pt x="302" y="239"/>
                  </a:lnTo>
                  <a:lnTo>
                    <a:pt x="335" y="210"/>
                  </a:lnTo>
                  <a:lnTo>
                    <a:pt x="371" y="182"/>
                  </a:lnTo>
                  <a:lnTo>
                    <a:pt x="407" y="156"/>
                  </a:lnTo>
                  <a:lnTo>
                    <a:pt x="444" y="133"/>
                  </a:lnTo>
                  <a:lnTo>
                    <a:pt x="483" y="111"/>
                  </a:lnTo>
                  <a:lnTo>
                    <a:pt x="522" y="89"/>
                  </a:lnTo>
                  <a:lnTo>
                    <a:pt x="563" y="72"/>
                  </a:lnTo>
                  <a:lnTo>
                    <a:pt x="605" y="55"/>
                  </a:lnTo>
                  <a:lnTo>
                    <a:pt x="647" y="41"/>
                  </a:lnTo>
                  <a:lnTo>
                    <a:pt x="691" y="28"/>
                  </a:lnTo>
                  <a:lnTo>
                    <a:pt x="737" y="18"/>
                  </a:lnTo>
                  <a:lnTo>
                    <a:pt x="782" y="10"/>
                  </a:lnTo>
                  <a:lnTo>
                    <a:pt x="828" y="5"/>
                  </a:lnTo>
                  <a:lnTo>
                    <a:pt x="875" y="0"/>
                  </a:lnTo>
                  <a:lnTo>
                    <a:pt x="922" y="0"/>
                  </a:lnTo>
                  <a:lnTo>
                    <a:pt x="922" y="0"/>
                  </a:lnTo>
                  <a:lnTo>
                    <a:pt x="969" y="0"/>
                  </a:lnTo>
                  <a:lnTo>
                    <a:pt x="1016" y="5"/>
                  </a:lnTo>
                  <a:lnTo>
                    <a:pt x="1062" y="10"/>
                  </a:lnTo>
                  <a:lnTo>
                    <a:pt x="1107" y="18"/>
                  </a:lnTo>
                  <a:lnTo>
                    <a:pt x="1153" y="28"/>
                  </a:lnTo>
                  <a:lnTo>
                    <a:pt x="1197" y="41"/>
                  </a:lnTo>
                  <a:lnTo>
                    <a:pt x="1239" y="55"/>
                  </a:lnTo>
                  <a:lnTo>
                    <a:pt x="1281" y="72"/>
                  </a:lnTo>
                  <a:lnTo>
                    <a:pt x="1322" y="89"/>
                  </a:lnTo>
                  <a:lnTo>
                    <a:pt x="1361" y="111"/>
                  </a:lnTo>
                  <a:lnTo>
                    <a:pt x="1400" y="133"/>
                  </a:lnTo>
                  <a:lnTo>
                    <a:pt x="1437" y="156"/>
                  </a:lnTo>
                  <a:lnTo>
                    <a:pt x="1473" y="182"/>
                  </a:lnTo>
                  <a:lnTo>
                    <a:pt x="1509" y="210"/>
                  </a:lnTo>
                  <a:lnTo>
                    <a:pt x="1542" y="239"/>
                  </a:lnTo>
                  <a:lnTo>
                    <a:pt x="1574" y="270"/>
                  </a:lnTo>
                  <a:lnTo>
                    <a:pt x="1605" y="301"/>
                  </a:lnTo>
                  <a:lnTo>
                    <a:pt x="1633" y="335"/>
                  </a:lnTo>
                  <a:lnTo>
                    <a:pt x="1660" y="369"/>
                  </a:lnTo>
                  <a:lnTo>
                    <a:pt x="1686" y="406"/>
                  </a:lnTo>
                  <a:lnTo>
                    <a:pt x="1711" y="444"/>
                  </a:lnTo>
                  <a:lnTo>
                    <a:pt x="1732" y="481"/>
                  </a:lnTo>
                  <a:lnTo>
                    <a:pt x="1753" y="522"/>
                  </a:lnTo>
                  <a:lnTo>
                    <a:pt x="1771" y="563"/>
                  </a:lnTo>
                  <a:lnTo>
                    <a:pt x="1787" y="605"/>
                  </a:lnTo>
                  <a:lnTo>
                    <a:pt x="1802" y="647"/>
                  </a:lnTo>
                  <a:lnTo>
                    <a:pt x="1815" y="691"/>
                  </a:lnTo>
                  <a:lnTo>
                    <a:pt x="1824" y="735"/>
                  </a:lnTo>
                  <a:lnTo>
                    <a:pt x="1833" y="780"/>
                  </a:lnTo>
                  <a:lnTo>
                    <a:pt x="1839" y="828"/>
                  </a:lnTo>
                  <a:lnTo>
                    <a:pt x="1842" y="873"/>
                  </a:lnTo>
                  <a:lnTo>
                    <a:pt x="1844" y="922"/>
                  </a:lnTo>
                  <a:lnTo>
                    <a:pt x="1844" y="922"/>
                  </a:lnTo>
                  <a:close/>
                </a:path>
              </a:pathLst>
            </a:custGeom>
            <a:solidFill>
              <a:srgbClr val="0271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-957263" y="1725613"/>
              <a:ext cx="965200" cy="820737"/>
            </a:xfrm>
            <a:custGeom>
              <a:avLst/>
              <a:gdLst/>
              <a:ahLst/>
              <a:cxnLst>
                <a:cxn ang="0">
                  <a:pos x="628" y="1010"/>
                </a:cxn>
                <a:cxn ang="0">
                  <a:pos x="608" y="981"/>
                </a:cxn>
                <a:cxn ang="0">
                  <a:pos x="601" y="946"/>
                </a:cxn>
                <a:cxn ang="0">
                  <a:pos x="608" y="912"/>
                </a:cxn>
                <a:cxn ang="0">
                  <a:pos x="628" y="883"/>
                </a:cxn>
                <a:cxn ang="0">
                  <a:pos x="101" y="620"/>
                </a:cxn>
                <a:cxn ang="0">
                  <a:pos x="91" y="618"/>
                </a:cxn>
                <a:cxn ang="0">
                  <a:pos x="71" y="615"/>
                </a:cxn>
                <a:cxn ang="0">
                  <a:pos x="44" y="602"/>
                </a:cxn>
                <a:cxn ang="0">
                  <a:pos x="16" y="574"/>
                </a:cxn>
                <a:cxn ang="0">
                  <a:pos x="5" y="548"/>
                </a:cxn>
                <a:cxn ang="0">
                  <a:pos x="0" y="529"/>
                </a:cxn>
                <a:cxn ang="0">
                  <a:pos x="0" y="519"/>
                </a:cxn>
                <a:cxn ang="0">
                  <a:pos x="1" y="498"/>
                </a:cxn>
                <a:cxn ang="0">
                  <a:pos x="8" y="478"/>
                </a:cxn>
                <a:cxn ang="0">
                  <a:pos x="29" y="447"/>
                </a:cxn>
                <a:cxn ang="0">
                  <a:pos x="62" y="425"/>
                </a:cxn>
                <a:cxn ang="0">
                  <a:pos x="81" y="420"/>
                </a:cxn>
                <a:cxn ang="0">
                  <a:pos x="101" y="418"/>
                </a:cxn>
                <a:cxn ang="0">
                  <a:pos x="628" y="153"/>
                </a:cxn>
                <a:cxn ang="0">
                  <a:pos x="616" y="138"/>
                </a:cxn>
                <a:cxn ang="0">
                  <a:pos x="603" y="106"/>
                </a:cxn>
                <a:cxn ang="0">
                  <a:pos x="603" y="73"/>
                </a:cxn>
                <a:cxn ang="0">
                  <a:pos x="616" y="41"/>
                </a:cxn>
                <a:cxn ang="0">
                  <a:pos x="628" y="26"/>
                </a:cxn>
                <a:cxn ang="0">
                  <a:pos x="658" y="7"/>
                </a:cxn>
                <a:cxn ang="0">
                  <a:pos x="693" y="0"/>
                </a:cxn>
                <a:cxn ang="0">
                  <a:pos x="727" y="7"/>
                </a:cxn>
                <a:cxn ang="0">
                  <a:pos x="756" y="26"/>
                </a:cxn>
                <a:cxn ang="0">
                  <a:pos x="1190" y="455"/>
                </a:cxn>
                <a:cxn ang="0">
                  <a:pos x="1210" y="485"/>
                </a:cxn>
                <a:cxn ang="0">
                  <a:pos x="1216" y="519"/>
                </a:cxn>
                <a:cxn ang="0">
                  <a:pos x="1210" y="551"/>
                </a:cxn>
                <a:cxn ang="0">
                  <a:pos x="1190" y="581"/>
                </a:cxn>
                <a:cxn ang="0">
                  <a:pos x="756" y="1010"/>
                </a:cxn>
                <a:cxn ang="0">
                  <a:pos x="727" y="1029"/>
                </a:cxn>
                <a:cxn ang="0">
                  <a:pos x="693" y="1036"/>
                </a:cxn>
                <a:cxn ang="0">
                  <a:pos x="658" y="1029"/>
                </a:cxn>
                <a:cxn ang="0">
                  <a:pos x="628" y="1010"/>
                </a:cxn>
              </a:cxnLst>
              <a:rect l="0" t="0" r="r" b="b"/>
              <a:pathLst>
                <a:path w="1216" h="1036">
                  <a:moveTo>
                    <a:pt x="628" y="1010"/>
                  </a:moveTo>
                  <a:lnTo>
                    <a:pt x="628" y="1010"/>
                  </a:lnTo>
                  <a:lnTo>
                    <a:pt x="616" y="995"/>
                  </a:lnTo>
                  <a:lnTo>
                    <a:pt x="608" y="981"/>
                  </a:lnTo>
                  <a:lnTo>
                    <a:pt x="603" y="963"/>
                  </a:lnTo>
                  <a:lnTo>
                    <a:pt x="601" y="946"/>
                  </a:lnTo>
                  <a:lnTo>
                    <a:pt x="603" y="930"/>
                  </a:lnTo>
                  <a:lnTo>
                    <a:pt x="608" y="912"/>
                  </a:lnTo>
                  <a:lnTo>
                    <a:pt x="616" y="898"/>
                  </a:lnTo>
                  <a:lnTo>
                    <a:pt x="628" y="883"/>
                  </a:lnTo>
                  <a:lnTo>
                    <a:pt x="896" y="620"/>
                  </a:lnTo>
                  <a:lnTo>
                    <a:pt x="101" y="620"/>
                  </a:lnTo>
                  <a:lnTo>
                    <a:pt x="101" y="620"/>
                  </a:lnTo>
                  <a:lnTo>
                    <a:pt x="91" y="618"/>
                  </a:lnTo>
                  <a:lnTo>
                    <a:pt x="81" y="616"/>
                  </a:lnTo>
                  <a:lnTo>
                    <a:pt x="71" y="615"/>
                  </a:lnTo>
                  <a:lnTo>
                    <a:pt x="62" y="611"/>
                  </a:lnTo>
                  <a:lnTo>
                    <a:pt x="44" y="602"/>
                  </a:lnTo>
                  <a:lnTo>
                    <a:pt x="29" y="589"/>
                  </a:lnTo>
                  <a:lnTo>
                    <a:pt x="16" y="574"/>
                  </a:lnTo>
                  <a:lnTo>
                    <a:pt x="8" y="558"/>
                  </a:lnTo>
                  <a:lnTo>
                    <a:pt x="5" y="548"/>
                  </a:lnTo>
                  <a:lnTo>
                    <a:pt x="1" y="538"/>
                  </a:lnTo>
                  <a:lnTo>
                    <a:pt x="0" y="529"/>
                  </a:lnTo>
                  <a:lnTo>
                    <a:pt x="0" y="519"/>
                  </a:lnTo>
                  <a:lnTo>
                    <a:pt x="0" y="519"/>
                  </a:lnTo>
                  <a:lnTo>
                    <a:pt x="0" y="507"/>
                  </a:lnTo>
                  <a:lnTo>
                    <a:pt x="1" y="498"/>
                  </a:lnTo>
                  <a:lnTo>
                    <a:pt x="5" y="488"/>
                  </a:lnTo>
                  <a:lnTo>
                    <a:pt x="8" y="478"/>
                  </a:lnTo>
                  <a:lnTo>
                    <a:pt x="16" y="462"/>
                  </a:lnTo>
                  <a:lnTo>
                    <a:pt x="29" y="447"/>
                  </a:lnTo>
                  <a:lnTo>
                    <a:pt x="44" y="434"/>
                  </a:lnTo>
                  <a:lnTo>
                    <a:pt x="62" y="425"/>
                  </a:lnTo>
                  <a:lnTo>
                    <a:pt x="71" y="421"/>
                  </a:lnTo>
                  <a:lnTo>
                    <a:pt x="81" y="420"/>
                  </a:lnTo>
                  <a:lnTo>
                    <a:pt x="91" y="418"/>
                  </a:lnTo>
                  <a:lnTo>
                    <a:pt x="101" y="418"/>
                  </a:lnTo>
                  <a:lnTo>
                    <a:pt x="896" y="418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16" y="138"/>
                  </a:lnTo>
                  <a:lnTo>
                    <a:pt x="608" y="124"/>
                  </a:lnTo>
                  <a:lnTo>
                    <a:pt x="603" y="106"/>
                  </a:lnTo>
                  <a:lnTo>
                    <a:pt x="601" y="90"/>
                  </a:lnTo>
                  <a:lnTo>
                    <a:pt x="603" y="73"/>
                  </a:lnTo>
                  <a:lnTo>
                    <a:pt x="608" y="55"/>
                  </a:lnTo>
                  <a:lnTo>
                    <a:pt x="616" y="41"/>
                  </a:lnTo>
                  <a:lnTo>
                    <a:pt x="628" y="26"/>
                  </a:lnTo>
                  <a:lnTo>
                    <a:pt x="628" y="26"/>
                  </a:lnTo>
                  <a:lnTo>
                    <a:pt x="642" y="15"/>
                  </a:lnTo>
                  <a:lnTo>
                    <a:pt x="658" y="7"/>
                  </a:lnTo>
                  <a:lnTo>
                    <a:pt x="675" y="2"/>
                  </a:lnTo>
                  <a:lnTo>
                    <a:pt x="693" y="0"/>
                  </a:lnTo>
                  <a:lnTo>
                    <a:pt x="709" y="2"/>
                  </a:lnTo>
                  <a:lnTo>
                    <a:pt x="727" y="7"/>
                  </a:lnTo>
                  <a:lnTo>
                    <a:pt x="741" y="15"/>
                  </a:lnTo>
                  <a:lnTo>
                    <a:pt x="756" y="26"/>
                  </a:lnTo>
                  <a:lnTo>
                    <a:pt x="1190" y="455"/>
                  </a:lnTo>
                  <a:lnTo>
                    <a:pt x="1190" y="455"/>
                  </a:lnTo>
                  <a:lnTo>
                    <a:pt x="1202" y="468"/>
                  </a:lnTo>
                  <a:lnTo>
                    <a:pt x="1210" y="485"/>
                  </a:lnTo>
                  <a:lnTo>
                    <a:pt x="1215" y="501"/>
                  </a:lnTo>
                  <a:lnTo>
                    <a:pt x="1216" y="519"/>
                  </a:lnTo>
                  <a:lnTo>
                    <a:pt x="1215" y="535"/>
                  </a:lnTo>
                  <a:lnTo>
                    <a:pt x="1210" y="551"/>
                  </a:lnTo>
                  <a:lnTo>
                    <a:pt x="1202" y="568"/>
                  </a:lnTo>
                  <a:lnTo>
                    <a:pt x="1190" y="581"/>
                  </a:lnTo>
                  <a:lnTo>
                    <a:pt x="756" y="1010"/>
                  </a:lnTo>
                  <a:lnTo>
                    <a:pt x="756" y="1010"/>
                  </a:lnTo>
                  <a:lnTo>
                    <a:pt x="741" y="1021"/>
                  </a:lnTo>
                  <a:lnTo>
                    <a:pt x="727" y="1029"/>
                  </a:lnTo>
                  <a:lnTo>
                    <a:pt x="709" y="1034"/>
                  </a:lnTo>
                  <a:lnTo>
                    <a:pt x="693" y="1036"/>
                  </a:lnTo>
                  <a:lnTo>
                    <a:pt x="675" y="1034"/>
                  </a:lnTo>
                  <a:lnTo>
                    <a:pt x="658" y="1029"/>
                  </a:lnTo>
                  <a:lnTo>
                    <a:pt x="642" y="1021"/>
                  </a:lnTo>
                  <a:lnTo>
                    <a:pt x="628" y="1010"/>
                  </a:lnTo>
                  <a:lnTo>
                    <a:pt x="628" y="10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42004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IT Deep Dive l September 2018</a:t>
            </a:r>
            <a:endParaRPr lang="en-US" noProof="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pic>
        <p:nvPicPr>
          <p:cNvPr id="6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81546" y="4877227"/>
            <a:ext cx="176979" cy="17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ommaire"/>
          <p:cNvSpPr>
            <a:spLocks noGrp="1"/>
          </p:cNvSpPr>
          <p:nvPr>
            <p:ph type="title" hasCustomPrompt="1"/>
          </p:nvPr>
        </p:nvSpPr>
        <p:spPr>
          <a:xfrm>
            <a:off x="234000" y="205978"/>
            <a:ext cx="8820000" cy="352822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defRPr sz="2400">
                <a:solidFill>
                  <a:srgbClr val="00008F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noProof="0" dirty="0"/>
              <a:t>Title </a:t>
            </a:r>
          </a:p>
        </p:txBody>
      </p:sp>
      <p:sp>
        <p:nvSpPr>
          <p:cNvPr id="8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233999" y="571705"/>
            <a:ext cx="8820000" cy="28554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800">
                <a:solidFill>
                  <a:srgbClr val="02718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/>
              <a:t>Subtitle or next 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4170773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11"/>
          <p:cNvCxnSpPr/>
          <p:nvPr userDrawn="1"/>
        </p:nvCxnSpPr>
        <p:spPr>
          <a:xfrm flipH="1">
            <a:off x="2924175" y="2558654"/>
            <a:ext cx="3295650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arallélogramme 10"/>
          <p:cNvSpPr>
            <a:spLocks noChangeAspect="1"/>
          </p:cNvSpPr>
          <p:nvPr userDrawn="1"/>
        </p:nvSpPr>
        <p:spPr>
          <a:xfrm>
            <a:off x="735013" y="-3572"/>
            <a:ext cx="1439862" cy="1171576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8" rIns="91397" bIns="45698" anchor="ctr"/>
          <a:lstStyle/>
          <a:p>
            <a:pPr algn="ctr" defTabSz="91397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4657725"/>
            <a:ext cx="9144000" cy="485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8" rIns="91397" bIns="45698" anchor="ctr"/>
          <a:lstStyle/>
          <a:p>
            <a:pPr algn="ctr" defTabSz="91397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7" name="Image 1" descr="AXA_logo_UK_Q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818" t="-2" b="-29974"/>
          <a:stretch>
            <a:fillRect/>
          </a:stretch>
        </p:blipFill>
        <p:spPr bwMode="auto">
          <a:xfrm>
            <a:off x="8420101" y="4752975"/>
            <a:ext cx="379413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re 9"/>
          <p:cNvSpPr>
            <a:spLocks noGrp="1"/>
          </p:cNvSpPr>
          <p:nvPr>
            <p:ph type="title"/>
          </p:nvPr>
        </p:nvSpPr>
        <p:spPr>
          <a:xfrm>
            <a:off x="355601" y="1455017"/>
            <a:ext cx="8432800" cy="857250"/>
          </a:xfrm>
          <a:prstGeom prst="rect">
            <a:avLst/>
          </a:prstGeom>
        </p:spPr>
        <p:txBody>
          <a:bodyPr/>
          <a:lstStyle>
            <a:lvl1pPr algn="ctr">
              <a:defRPr sz="41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0"/>
          </p:nvPr>
        </p:nvSpPr>
        <p:spPr>
          <a:xfrm>
            <a:off x="361950" y="2758103"/>
            <a:ext cx="8439150" cy="3238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1"/>
          </p:nvPr>
        </p:nvSpPr>
        <p:spPr>
          <a:xfrm>
            <a:off x="355600" y="4877992"/>
            <a:ext cx="2133600" cy="164306"/>
          </a:xfrm>
        </p:spPr>
        <p:txBody>
          <a:bodyPr/>
          <a:lstStyle>
            <a:lvl1pPr algn="l" defTabSz="914400">
              <a:defRPr sz="800" b="1" smtClean="0">
                <a:solidFill>
                  <a:srgbClr val="E40A38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T Deep Dive l September 2018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2269840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">
    <p:bg>
      <p:bgPr>
        <a:solidFill>
          <a:srgbClr val="7FA2B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971601" y="2019128"/>
            <a:ext cx="7200849" cy="857250"/>
          </a:xfrm>
          <a:prstGeom prst="rect">
            <a:avLst/>
          </a:prstGeom>
        </p:spPr>
        <p:txBody>
          <a:bodyPr anchor="ctr" anchorCtr="1">
            <a:noAutofit/>
          </a:bodyPr>
          <a:lstStyle>
            <a:lvl1pPr algn="l">
              <a:defRPr sz="49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1233572" y="3556797"/>
            <a:ext cx="6146740" cy="685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90390381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 ALT">
    <p:bg>
      <p:bgPr>
        <a:solidFill>
          <a:srgbClr val="7FA2B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279903" y="519521"/>
            <a:ext cx="4521201" cy="857250"/>
          </a:xfrm>
          <a:prstGeom prst="rect">
            <a:avLst/>
          </a:prstGeom>
        </p:spPr>
        <p:txBody>
          <a:bodyPr anchor="ctr" anchorCtr="1">
            <a:noAutofit/>
          </a:bodyPr>
          <a:lstStyle>
            <a:lvl1pPr algn="l">
              <a:defRPr sz="31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5686426" y="1707655"/>
            <a:ext cx="3114674" cy="685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56967946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c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11"/>
          <p:cNvCxnSpPr/>
          <p:nvPr userDrawn="1"/>
        </p:nvCxnSpPr>
        <p:spPr>
          <a:xfrm flipH="1">
            <a:off x="2924175" y="2558654"/>
            <a:ext cx="3295650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0" y="4657725"/>
            <a:ext cx="9144000" cy="485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8" rIns="91397" bIns="45698" anchor="ctr"/>
          <a:lstStyle/>
          <a:p>
            <a:pPr algn="ctr" defTabSz="91397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grpSp>
        <p:nvGrpSpPr>
          <p:cNvPr id="7" name="Groupe 12"/>
          <p:cNvGrpSpPr>
            <a:grpSpLocks noChangeAspect="1"/>
          </p:cNvGrpSpPr>
          <p:nvPr userDrawn="1"/>
        </p:nvGrpSpPr>
        <p:grpSpPr bwMode="auto">
          <a:xfrm>
            <a:off x="8497889" y="4756548"/>
            <a:ext cx="395287" cy="296465"/>
            <a:chOff x="2654300" y="1511300"/>
            <a:chExt cx="3835401" cy="3835400"/>
          </a:xfrm>
        </p:grpSpPr>
        <p:sp>
          <p:nvSpPr>
            <p:cNvPr id="8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1281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fr-FR" altLang="en-US" sz="1800">
                <a:solidFill>
                  <a:srgbClr val="000000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4810753" y="1511300"/>
              <a:ext cx="1678948" cy="1894593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97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800" dirty="0">
                <a:solidFill>
                  <a:prstClr val="black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>
                <a:gd name="T0" fmla="*/ 283 w 283"/>
                <a:gd name="T1" fmla="*/ 126 h 126"/>
                <a:gd name="T2" fmla="*/ 250 w 283"/>
                <a:gd name="T3" fmla="*/ 115 h 126"/>
                <a:gd name="T4" fmla="*/ 186 w 283"/>
                <a:gd name="T5" fmla="*/ 72 h 126"/>
                <a:gd name="T6" fmla="*/ 188 w 283"/>
                <a:gd name="T7" fmla="*/ 115 h 126"/>
                <a:gd name="T8" fmla="*/ 163 w 283"/>
                <a:gd name="T9" fmla="*/ 126 h 126"/>
                <a:gd name="T10" fmla="*/ 159 w 283"/>
                <a:gd name="T11" fmla="*/ 110 h 126"/>
                <a:gd name="T12" fmla="*/ 147 w 283"/>
                <a:gd name="T13" fmla="*/ 126 h 126"/>
                <a:gd name="T14" fmla="*/ 122 w 283"/>
                <a:gd name="T15" fmla="*/ 120 h 126"/>
                <a:gd name="T16" fmla="*/ 110 w 283"/>
                <a:gd name="T17" fmla="*/ 121 h 126"/>
                <a:gd name="T18" fmla="*/ 84 w 283"/>
                <a:gd name="T19" fmla="*/ 126 h 126"/>
                <a:gd name="T20" fmla="*/ 111 w 283"/>
                <a:gd name="T21" fmla="*/ 93 h 126"/>
                <a:gd name="T22" fmla="*/ 55 w 283"/>
                <a:gd name="T23" fmla="*/ 72 h 126"/>
                <a:gd name="T24" fmla="*/ 15 w 283"/>
                <a:gd name="T25" fmla="*/ 126 h 126"/>
                <a:gd name="T26" fmla="*/ 0 w 283"/>
                <a:gd name="T27" fmla="*/ 117 h 126"/>
                <a:gd name="T28" fmla="*/ 42 w 283"/>
                <a:gd name="T29" fmla="*/ 63 h 126"/>
                <a:gd name="T30" fmla="*/ 87 w 283"/>
                <a:gd name="T31" fmla="*/ 0 h 126"/>
                <a:gd name="T32" fmla="*/ 114 w 283"/>
                <a:gd name="T33" fmla="*/ 12 h 126"/>
                <a:gd name="T34" fmla="*/ 140 w 283"/>
                <a:gd name="T35" fmla="*/ 56 h 126"/>
                <a:gd name="T36" fmla="*/ 120 w 283"/>
                <a:gd name="T37" fmla="*/ 0 h 126"/>
                <a:gd name="T38" fmla="*/ 152 w 283"/>
                <a:gd name="T39" fmla="*/ 8 h 126"/>
                <a:gd name="T40" fmla="*/ 182 w 283"/>
                <a:gd name="T41" fmla="*/ 7 h 126"/>
                <a:gd name="T42" fmla="*/ 210 w 283"/>
                <a:gd name="T43" fmla="*/ 0 h 126"/>
                <a:gd name="T44" fmla="*/ 167 w 283"/>
                <a:gd name="T45" fmla="*/ 51 h 126"/>
                <a:gd name="T46" fmla="*/ 171 w 283"/>
                <a:gd name="T47" fmla="*/ 65 h 126"/>
                <a:gd name="T48" fmla="*/ 213 w 283"/>
                <a:gd name="T49" fmla="*/ 9 h 126"/>
                <a:gd name="T50" fmla="*/ 243 w 283"/>
                <a:gd name="T51" fmla="*/ 0 h 126"/>
                <a:gd name="T52" fmla="*/ 260 w 283"/>
                <a:gd name="T53" fmla="*/ 63 h 126"/>
                <a:gd name="T54" fmla="*/ 197 w 283"/>
                <a:gd name="T55" fmla="*/ 58 h 126"/>
                <a:gd name="T56" fmla="*/ 224 w 283"/>
                <a:gd name="T57" fmla="*/ 33 h 126"/>
                <a:gd name="T58" fmla="*/ 222 w 283"/>
                <a:gd name="T59" fmla="*/ 24 h 126"/>
                <a:gd name="T60" fmla="*/ 67 w 283"/>
                <a:gd name="T61" fmla="*/ 58 h 126"/>
                <a:gd name="T62" fmla="*/ 93 w 283"/>
                <a:gd name="T63" fmla="*/ 33 h 126"/>
                <a:gd name="T64" fmla="*/ 92 w 283"/>
                <a:gd name="T65" fmla="*/ 24 h 126"/>
                <a:gd name="T66" fmla="*/ 152 w 283"/>
                <a:gd name="T67" fmla="*/ 90 h 126"/>
                <a:gd name="T68" fmla="*/ 137 w 283"/>
                <a:gd name="T69" fmla="*/ 85 h 12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eaLnBrk="1" hangingPunct="1"/>
              <a:endParaRPr lang="en-GB" sz="18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1" name="Parallélogramme 12"/>
          <p:cNvSpPr>
            <a:spLocks noChangeAspect="1"/>
          </p:cNvSpPr>
          <p:nvPr userDrawn="1"/>
        </p:nvSpPr>
        <p:spPr>
          <a:xfrm>
            <a:off x="735013" y="-3572"/>
            <a:ext cx="1439862" cy="1171576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8" rIns="91397" bIns="45698" anchor="ctr"/>
          <a:lstStyle/>
          <a:p>
            <a:pPr algn="ctr" defTabSz="91397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0"/>
          </p:nvPr>
        </p:nvSpPr>
        <p:spPr>
          <a:xfrm>
            <a:off x="361950" y="2758103"/>
            <a:ext cx="8439150" cy="3238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19"/>
          <p:cNvSpPr>
            <a:spLocks noGrp="1"/>
          </p:cNvSpPr>
          <p:nvPr>
            <p:ph type="body" sz="quarter" idx="11"/>
          </p:nvPr>
        </p:nvSpPr>
        <p:spPr>
          <a:xfrm>
            <a:off x="5432617" y="4836808"/>
            <a:ext cx="2834637" cy="2988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FontTx/>
              <a:buNone/>
              <a:defRPr sz="1000" b="1">
                <a:solidFill>
                  <a:srgbClr val="004893"/>
                </a:solidFill>
                <a:latin typeface="Arial" pitchFamily="34" charset="0"/>
                <a:cs typeface="Arial" pitchFamily="34" charset="0"/>
              </a:defRPr>
            </a:lvl1pPr>
            <a:lvl2pPr marL="0" indent="0" algn="r">
              <a:buFontTx/>
              <a:buNone/>
              <a:defRPr sz="1200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2pPr>
            <a:lvl3pPr marL="0" indent="0" algn="r">
              <a:buFontTx/>
              <a:buNone/>
              <a:defRPr sz="1000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3pPr>
            <a:lvl4pPr marL="0" indent="0" algn="r">
              <a:buFontTx/>
              <a:buNone/>
              <a:defRPr sz="800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4pPr>
            <a:lvl5pPr marL="0" indent="0" algn="r">
              <a:buFontTx/>
              <a:buNone/>
              <a:defRPr sz="800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3"/>
          </p:nvPr>
        </p:nvSpPr>
        <p:spPr>
          <a:xfrm>
            <a:off x="355604" y="1161125"/>
            <a:ext cx="8432799" cy="1145976"/>
          </a:xfrm>
        </p:spPr>
        <p:txBody>
          <a:bodyPr anchor="b"/>
          <a:lstStyle>
            <a:lvl1pPr marL="0" indent="0" algn="ctr">
              <a:buFontTx/>
              <a:buNone/>
              <a:defRPr sz="5400"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500"/>
              </a:spcBef>
              <a:buFontTx/>
              <a:buNone/>
              <a:defRPr sz="3100" b="0">
                <a:solidFill>
                  <a:schemeClr val="tx2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Espace réservé de la date 3"/>
          <p:cNvSpPr>
            <a:spLocks noGrp="1"/>
          </p:cNvSpPr>
          <p:nvPr>
            <p:ph type="dt" sz="half" idx="14"/>
          </p:nvPr>
        </p:nvSpPr>
        <p:spPr>
          <a:xfrm>
            <a:off x="3505200" y="4877992"/>
            <a:ext cx="2133600" cy="164306"/>
          </a:xfrm>
        </p:spPr>
        <p:txBody>
          <a:bodyPr/>
          <a:lstStyle>
            <a:lvl1pPr algn="ctr" defTabSz="914400">
              <a:defRPr sz="800" b="1" smtClean="0">
                <a:solidFill>
                  <a:srgbClr val="E40A38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T Deep Dive l September 2018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603547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sombre">
    <p:bg>
      <p:bgPr>
        <a:solidFill>
          <a:srgbClr val="004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11"/>
          <p:cNvCxnSpPr/>
          <p:nvPr userDrawn="1"/>
        </p:nvCxnSpPr>
        <p:spPr>
          <a:xfrm flipH="1">
            <a:off x="2924175" y="2558654"/>
            <a:ext cx="3295650" cy="0"/>
          </a:xfrm>
          <a:prstGeom prst="line">
            <a:avLst/>
          </a:prstGeom>
          <a:ln w="12700" cap="rnd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 userDrawn="1"/>
        </p:nvSpPr>
        <p:spPr>
          <a:xfrm>
            <a:off x="0" y="4657725"/>
            <a:ext cx="9144000" cy="485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8" rIns="91397" bIns="45698" anchor="ctr"/>
          <a:lstStyle/>
          <a:p>
            <a:pPr algn="ctr" defTabSz="91397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grpSp>
        <p:nvGrpSpPr>
          <p:cNvPr id="6" name="Groupe 12"/>
          <p:cNvGrpSpPr>
            <a:grpSpLocks noChangeAspect="1"/>
          </p:cNvGrpSpPr>
          <p:nvPr userDrawn="1"/>
        </p:nvGrpSpPr>
        <p:grpSpPr bwMode="auto">
          <a:xfrm>
            <a:off x="8497889" y="4756548"/>
            <a:ext cx="395287" cy="296465"/>
            <a:chOff x="2654300" y="1511300"/>
            <a:chExt cx="3835401" cy="3835400"/>
          </a:xfrm>
        </p:grpSpPr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1281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fr-FR" altLang="en-US" sz="1800">
                <a:solidFill>
                  <a:srgbClr val="000000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4810753" y="1511300"/>
              <a:ext cx="1678948" cy="1894593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97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800" dirty="0">
                <a:solidFill>
                  <a:prstClr val="black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>
                <a:gd name="T0" fmla="*/ 283 w 283"/>
                <a:gd name="T1" fmla="*/ 126 h 126"/>
                <a:gd name="T2" fmla="*/ 250 w 283"/>
                <a:gd name="T3" fmla="*/ 115 h 126"/>
                <a:gd name="T4" fmla="*/ 186 w 283"/>
                <a:gd name="T5" fmla="*/ 72 h 126"/>
                <a:gd name="T6" fmla="*/ 188 w 283"/>
                <a:gd name="T7" fmla="*/ 115 h 126"/>
                <a:gd name="T8" fmla="*/ 163 w 283"/>
                <a:gd name="T9" fmla="*/ 126 h 126"/>
                <a:gd name="T10" fmla="*/ 159 w 283"/>
                <a:gd name="T11" fmla="*/ 110 h 126"/>
                <a:gd name="T12" fmla="*/ 147 w 283"/>
                <a:gd name="T13" fmla="*/ 126 h 126"/>
                <a:gd name="T14" fmla="*/ 122 w 283"/>
                <a:gd name="T15" fmla="*/ 120 h 126"/>
                <a:gd name="T16" fmla="*/ 110 w 283"/>
                <a:gd name="T17" fmla="*/ 121 h 126"/>
                <a:gd name="T18" fmla="*/ 84 w 283"/>
                <a:gd name="T19" fmla="*/ 126 h 126"/>
                <a:gd name="T20" fmla="*/ 111 w 283"/>
                <a:gd name="T21" fmla="*/ 93 h 126"/>
                <a:gd name="T22" fmla="*/ 55 w 283"/>
                <a:gd name="T23" fmla="*/ 72 h 126"/>
                <a:gd name="T24" fmla="*/ 15 w 283"/>
                <a:gd name="T25" fmla="*/ 126 h 126"/>
                <a:gd name="T26" fmla="*/ 0 w 283"/>
                <a:gd name="T27" fmla="*/ 117 h 126"/>
                <a:gd name="T28" fmla="*/ 42 w 283"/>
                <a:gd name="T29" fmla="*/ 63 h 126"/>
                <a:gd name="T30" fmla="*/ 87 w 283"/>
                <a:gd name="T31" fmla="*/ 0 h 126"/>
                <a:gd name="T32" fmla="*/ 114 w 283"/>
                <a:gd name="T33" fmla="*/ 12 h 126"/>
                <a:gd name="T34" fmla="*/ 140 w 283"/>
                <a:gd name="T35" fmla="*/ 56 h 126"/>
                <a:gd name="T36" fmla="*/ 120 w 283"/>
                <a:gd name="T37" fmla="*/ 0 h 126"/>
                <a:gd name="T38" fmla="*/ 152 w 283"/>
                <a:gd name="T39" fmla="*/ 8 h 126"/>
                <a:gd name="T40" fmla="*/ 182 w 283"/>
                <a:gd name="T41" fmla="*/ 7 h 126"/>
                <a:gd name="T42" fmla="*/ 210 w 283"/>
                <a:gd name="T43" fmla="*/ 0 h 126"/>
                <a:gd name="T44" fmla="*/ 167 w 283"/>
                <a:gd name="T45" fmla="*/ 51 h 126"/>
                <a:gd name="T46" fmla="*/ 171 w 283"/>
                <a:gd name="T47" fmla="*/ 65 h 126"/>
                <a:gd name="T48" fmla="*/ 213 w 283"/>
                <a:gd name="T49" fmla="*/ 9 h 126"/>
                <a:gd name="T50" fmla="*/ 243 w 283"/>
                <a:gd name="T51" fmla="*/ 0 h 126"/>
                <a:gd name="T52" fmla="*/ 260 w 283"/>
                <a:gd name="T53" fmla="*/ 63 h 126"/>
                <a:gd name="T54" fmla="*/ 197 w 283"/>
                <a:gd name="T55" fmla="*/ 58 h 126"/>
                <a:gd name="T56" fmla="*/ 224 w 283"/>
                <a:gd name="T57" fmla="*/ 33 h 126"/>
                <a:gd name="T58" fmla="*/ 222 w 283"/>
                <a:gd name="T59" fmla="*/ 24 h 126"/>
                <a:gd name="T60" fmla="*/ 67 w 283"/>
                <a:gd name="T61" fmla="*/ 58 h 126"/>
                <a:gd name="T62" fmla="*/ 93 w 283"/>
                <a:gd name="T63" fmla="*/ 33 h 126"/>
                <a:gd name="T64" fmla="*/ 92 w 283"/>
                <a:gd name="T65" fmla="*/ 24 h 126"/>
                <a:gd name="T66" fmla="*/ 152 w 283"/>
                <a:gd name="T67" fmla="*/ 90 h 126"/>
                <a:gd name="T68" fmla="*/ 137 w 283"/>
                <a:gd name="T69" fmla="*/ 85 h 12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eaLnBrk="1" hangingPunct="1"/>
              <a:endParaRPr lang="en-GB" sz="18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0" name="Parallélogramme 18"/>
          <p:cNvSpPr>
            <a:spLocks noChangeAspect="1"/>
          </p:cNvSpPr>
          <p:nvPr userDrawn="1"/>
        </p:nvSpPr>
        <p:spPr>
          <a:xfrm>
            <a:off x="735013" y="-3572"/>
            <a:ext cx="1439862" cy="1171576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8" rIns="91397" bIns="45698" anchor="ctr"/>
          <a:lstStyle/>
          <a:p>
            <a:pPr algn="ctr" defTabSz="91397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0"/>
          </p:nvPr>
        </p:nvSpPr>
        <p:spPr>
          <a:xfrm>
            <a:off x="361950" y="2758103"/>
            <a:ext cx="8439150" cy="3238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Espace réservé du texte 25"/>
          <p:cNvSpPr>
            <a:spLocks noGrp="1"/>
          </p:cNvSpPr>
          <p:nvPr>
            <p:ph type="body" sz="quarter" idx="13"/>
          </p:nvPr>
        </p:nvSpPr>
        <p:spPr>
          <a:xfrm>
            <a:off x="355604" y="1161125"/>
            <a:ext cx="8432799" cy="1145976"/>
          </a:xfrm>
        </p:spPr>
        <p:txBody>
          <a:bodyPr anchor="b"/>
          <a:lstStyle>
            <a:lvl1pPr marL="0" indent="0" algn="ctr">
              <a:buFontTx/>
              <a:buNone/>
              <a:defRPr sz="5400" b="1">
                <a:solidFill>
                  <a:schemeClr val="bg1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500"/>
              </a:spcBef>
              <a:buFontTx/>
              <a:buNone/>
              <a:defRPr sz="3100" b="0">
                <a:solidFill>
                  <a:schemeClr val="bg1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Espace réservé de la date 3"/>
          <p:cNvSpPr>
            <a:spLocks noGrp="1"/>
          </p:cNvSpPr>
          <p:nvPr>
            <p:ph type="dt" sz="half" idx="14"/>
          </p:nvPr>
        </p:nvSpPr>
        <p:spPr>
          <a:xfrm>
            <a:off x="3505200" y="4877992"/>
            <a:ext cx="2133600" cy="164306"/>
          </a:xfrm>
        </p:spPr>
        <p:txBody>
          <a:bodyPr/>
          <a:lstStyle>
            <a:lvl1pPr algn="ctr" defTabSz="914400">
              <a:defRPr sz="800" b="1" smtClean="0">
                <a:solidFill>
                  <a:srgbClr val="E40A38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T Deep Dive l September 2018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3943806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Connecteur droit 8"/>
          <p:cNvCxnSpPr/>
          <p:nvPr/>
        </p:nvCxnSpPr>
        <p:spPr>
          <a:xfrm>
            <a:off x="266701" y="4858941"/>
            <a:ext cx="798513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e 10"/>
          <p:cNvGrpSpPr>
            <a:grpSpLocks noChangeAspect="1"/>
          </p:cNvGrpSpPr>
          <p:nvPr/>
        </p:nvGrpSpPr>
        <p:grpSpPr bwMode="auto">
          <a:xfrm>
            <a:off x="8634414" y="4854179"/>
            <a:ext cx="263525" cy="196453"/>
            <a:chOff x="2654300" y="1511300"/>
            <a:chExt cx="3835401" cy="3835400"/>
          </a:xfrm>
        </p:grpSpPr>
        <p:sp>
          <p:nvSpPr>
            <p:cNvPr id="8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1281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fr-FR" altLang="en-US" sz="1800">
                <a:solidFill>
                  <a:srgbClr val="000000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4803041" y="1511300"/>
              <a:ext cx="1686660" cy="1906081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97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800" dirty="0">
                <a:solidFill>
                  <a:prstClr val="black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>
                <a:gd name="T0" fmla="*/ 283 w 283"/>
                <a:gd name="T1" fmla="*/ 126 h 126"/>
                <a:gd name="T2" fmla="*/ 250 w 283"/>
                <a:gd name="T3" fmla="*/ 115 h 126"/>
                <a:gd name="T4" fmla="*/ 186 w 283"/>
                <a:gd name="T5" fmla="*/ 72 h 126"/>
                <a:gd name="T6" fmla="*/ 188 w 283"/>
                <a:gd name="T7" fmla="*/ 115 h 126"/>
                <a:gd name="T8" fmla="*/ 163 w 283"/>
                <a:gd name="T9" fmla="*/ 126 h 126"/>
                <a:gd name="T10" fmla="*/ 159 w 283"/>
                <a:gd name="T11" fmla="*/ 110 h 126"/>
                <a:gd name="T12" fmla="*/ 147 w 283"/>
                <a:gd name="T13" fmla="*/ 126 h 126"/>
                <a:gd name="T14" fmla="*/ 122 w 283"/>
                <a:gd name="T15" fmla="*/ 120 h 126"/>
                <a:gd name="T16" fmla="*/ 110 w 283"/>
                <a:gd name="T17" fmla="*/ 121 h 126"/>
                <a:gd name="T18" fmla="*/ 84 w 283"/>
                <a:gd name="T19" fmla="*/ 126 h 126"/>
                <a:gd name="T20" fmla="*/ 111 w 283"/>
                <a:gd name="T21" fmla="*/ 93 h 126"/>
                <a:gd name="T22" fmla="*/ 55 w 283"/>
                <a:gd name="T23" fmla="*/ 72 h 126"/>
                <a:gd name="T24" fmla="*/ 15 w 283"/>
                <a:gd name="T25" fmla="*/ 126 h 126"/>
                <a:gd name="T26" fmla="*/ 0 w 283"/>
                <a:gd name="T27" fmla="*/ 117 h 126"/>
                <a:gd name="T28" fmla="*/ 42 w 283"/>
                <a:gd name="T29" fmla="*/ 63 h 126"/>
                <a:gd name="T30" fmla="*/ 87 w 283"/>
                <a:gd name="T31" fmla="*/ 0 h 126"/>
                <a:gd name="T32" fmla="*/ 114 w 283"/>
                <a:gd name="T33" fmla="*/ 12 h 126"/>
                <a:gd name="T34" fmla="*/ 140 w 283"/>
                <a:gd name="T35" fmla="*/ 56 h 126"/>
                <a:gd name="T36" fmla="*/ 120 w 283"/>
                <a:gd name="T37" fmla="*/ 0 h 126"/>
                <a:gd name="T38" fmla="*/ 152 w 283"/>
                <a:gd name="T39" fmla="*/ 8 h 126"/>
                <a:gd name="T40" fmla="*/ 182 w 283"/>
                <a:gd name="T41" fmla="*/ 7 h 126"/>
                <a:gd name="T42" fmla="*/ 210 w 283"/>
                <a:gd name="T43" fmla="*/ 0 h 126"/>
                <a:gd name="T44" fmla="*/ 167 w 283"/>
                <a:gd name="T45" fmla="*/ 51 h 126"/>
                <a:gd name="T46" fmla="*/ 171 w 283"/>
                <a:gd name="T47" fmla="*/ 65 h 126"/>
                <a:gd name="T48" fmla="*/ 213 w 283"/>
                <a:gd name="T49" fmla="*/ 9 h 126"/>
                <a:gd name="T50" fmla="*/ 243 w 283"/>
                <a:gd name="T51" fmla="*/ 0 h 126"/>
                <a:gd name="T52" fmla="*/ 260 w 283"/>
                <a:gd name="T53" fmla="*/ 63 h 126"/>
                <a:gd name="T54" fmla="*/ 197 w 283"/>
                <a:gd name="T55" fmla="*/ 58 h 126"/>
                <a:gd name="T56" fmla="*/ 224 w 283"/>
                <a:gd name="T57" fmla="*/ 33 h 126"/>
                <a:gd name="T58" fmla="*/ 222 w 283"/>
                <a:gd name="T59" fmla="*/ 24 h 126"/>
                <a:gd name="T60" fmla="*/ 67 w 283"/>
                <a:gd name="T61" fmla="*/ 58 h 126"/>
                <a:gd name="T62" fmla="*/ 93 w 283"/>
                <a:gd name="T63" fmla="*/ 33 h 126"/>
                <a:gd name="T64" fmla="*/ 92 w 283"/>
                <a:gd name="T65" fmla="*/ 24 h 126"/>
                <a:gd name="T66" fmla="*/ 152 w 283"/>
                <a:gd name="T67" fmla="*/ 90 h 126"/>
                <a:gd name="T68" fmla="*/ 137 w 283"/>
                <a:gd name="T69" fmla="*/ 85 h 12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eaLnBrk="1" hangingPunct="1"/>
              <a:endParaRPr lang="en-GB" sz="18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3" name="Parallélogramme 14"/>
          <p:cNvSpPr>
            <a:spLocks noChangeAspect="1"/>
          </p:cNvSpPr>
          <p:nvPr/>
        </p:nvSpPr>
        <p:spPr>
          <a:xfrm>
            <a:off x="233364" y="-11906"/>
            <a:ext cx="695325" cy="564356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8" rIns="91397" bIns="45698" anchor="ctr"/>
          <a:lstStyle/>
          <a:p>
            <a:pPr algn="ctr" defTabSz="91397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solidFill>
                <a:prstClr val="white"/>
              </a:solidFill>
            </a:endParaRPr>
          </a:p>
        </p:txBody>
      </p:sp>
      <p:cxnSp>
        <p:nvCxnSpPr>
          <p:cNvPr id="14" name="Connecteur droit 15"/>
          <p:cNvCxnSpPr/>
          <p:nvPr/>
        </p:nvCxnSpPr>
        <p:spPr>
          <a:xfrm>
            <a:off x="727076" y="551260"/>
            <a:ext cx="7681913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/>
          </p:nvPr>
        </p:nvSpPr>
        <p:spPr>
          <a:xfrm>
            <a:off x="2838455" y="828677"/>
            <a:ext cx="4223393" cy="3687290"/>
          </a:xfrm>
        </p:spPr>
        <p:txBody>
          <a:bodyPr anchor="ctr"/>
          <a:lstStyle>
            <a:lvl1pPr marL="534740" indent="-534740">
              <a:spcBef>
                <a:spcPts val="1998"/>
              </a:spcBef>
              <a:buClr>
                <a:srgbClr val="004563"/>
              </a:buClr>
              <a:buFontTx/>
              <a:buNone/>
              <a:defRPr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200" b="0">
                <a:solidFill>
                  <a:srgbClr val="004563"/>
                </a:solidFill>
                <a:latin typeface="Century Gothic" pitchFamily="34" charset="0"/>
              </a:defRPr>
            </a:lvl2pPr>
            <a:lvl3pPr marL="180892" indent="-180892">
              <a:buClr>
                <a:srgbClr val="004563"/>
              </a:buClr>
              <a:defRPr sz="1200" b="1">
                <a:latin typeface="Century Gothic" pitchFamily="34" charset="0"/>
              </a:defRPr>
            </a:lvl3pPr>
            <a:lvl4pPr marL="180892" indent="0">
              <a:defRPr sz="1200">
                <a:latin typeface="Century Gothic" pitchFamily="34" charset="0"/>
              </a:defRPr>
            </a:lvl4pPr>
            <a:lvl5pPr marL="361781" indent="-180892">
              <a:defRPr sz="12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contenu 9"/>
          <p:cNvSpPr>
            <a:spLocks noGrp="1"/>
          </p:cNvSpPr>
          <p:nvPr>
            <p:ph sz="quarter" idx="15"/>
          </p:nvPr>
        </p:nvSpPr>
        <p:spPr>
          <a:xfrm>
            <a:off x="7061846" y="825155"/>
            <a:ext cx="571997" cy="3687290"/>
          </a:xfrm>
        </p:spPr>
        <p:txBody>
          <a:bodyPr anchor="ctr"/>
          <a:lstStyle>
            <a:lvl1pPr marL="534740" indent="-534740" algn="r">
              <a:spcBef>
                <a:spcPts val="1998"/>
              </a:spcBef>
              <a:buClr>
                <a:srgbClr val="004563"/>
              </a:buClr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r">
              <a:spcBef>
                <a:spcPts val="0"/>
              </a:spcBef>
              <a:buFontTx/>
              <a:buNone/>
              <a:defRPr sz="1200" b="0">
                <a:solidFill>
                  <a:schemeClr val="tx2"/>
                </a:solidFill>
                <a:latin typeface="Century Gothic" pitchFamily="34" charset="0"/>
              </a:defRPr>
            </a:lvl2pPr>
            <a:lvl3pPr marL="180892" indent="-180892" algn="r">
              <a:buClr>
                <a:schemeClr val="tx2"/>
              </a:buClr>
              <a:defRPr sz="1200" b="1">
                <a:latin typeface="Century Gothic" pitchFamily="34" charset="0"/>
              </a:defRPr>
            </a:lvl3pPr>
            <a:lvl4pPr marL="180892" indent="0" algn="r">
              <a:defRPr sz="1200">
                <a:latin typeface="Century Gothic" pitchFamily="34" charset="0"/>
              </a:defRPr>
            </a:lvl4pPr>
            <a:lvl5pPr marL="361781" indent="-180892" algn="r">
              <a:defRPr sz="1200">
                <a:latin typeface="Century Gothic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5" name="Espace réservé du numéro de diapositive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F73E75AD-F6A8-4476-9865-24D767C2BA62}" type="slidenum">
              <a:rPr lang="fr-FR"/>
              <a:pPr>
                <a:defRPr/>
              </a:pPr>
              <a:t>‹#›</a:t>
            </a:fld>
            <a:r>
              <a:rPr lang="fr-FR" dirty="0"/>
              <a:t>   |  </a:t>
            </a:r>
          </a:p>
        </p:txBody>
      </p:sp>
      <p:sp>
        <p:nvSpPr>
          <p:cNvPr id="17" name="Espace réservé du pied de page 17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8" name="Espace réservé de la date 3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algn="ctr" defTabSz="914400">
              <a:defRPr sz="800" b="1" smtClean="0">
                <a:solidFill>
                  <a:srgbClr val="E40A38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T Deep Dive l September 2018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8593420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Connecteur droit 8"/>
          <p:cNvCxnSpPr/>
          <p:nvPr/>
        </p:nvCxnSpPr>
        <p:spPr>
          <a:xfrm>
            <a:off x="266701" y="4858941"/>
            <a:ext cx="798513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e 10"/>
          <p:cNvGrpSpPr>
            <a:grpSpLocks noChangeAspect="1"/>
          </p:cNvGrpSpPr>
          <p:nvPr/>
        </p:nvGrpSpPr>
        <p:grpSpPr bwMode="auto">
          <a:xfrm>
            <a:off x="8634414" y="4854179"/>
            <a:ext cx="263525" cy="196453"/>
            <a:chOff x="2654300" y="1511300"/>
            <a:chExt cx="3835401" cy="3835400"/>
          </a:xfrm>
        </p:grpSpPr>
        <p:sp>
          <p:nvSpPr>
            <p:cNvPr id="8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1281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fr-FR" altLang="en-US" sz="1800">
                <a:solidFill>
                  <a:srgbClr val="000000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4803041" y="1511300"/>
              <a:ext cx="1686660" cy="1906081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97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800" dirty="0">
                <a:solidFill>
                  <a:prstClr val="black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>
                <a:gd name="T0" fmla="*/ 283 w 283"/>
                <a:gd name="T1" fmla="*/ 126 h 126"/>
                <a:gd name="T2" fmla="*/ 250 w 283"/>
                <a:gd name="T3" fmla="*/ 115 h 126"/>
                <a:gd name="T4" fmla="*/ 186 w 283"/>
                <a:gd name="T5" fmla="*/ 72 h 126"/>
                <a:gd name="T6" fmla="*/ 188 w 283"/>
                <a:gd name="T7" fmla="*/ 115 h 126"/>
                <a:gd name="T8" fmla="*/ 163 w 283"/>
                <a:gd name="T9" fmla="*/ 126 h 126"/>
                <a:gd name="T10" fmla="*/ 159 w 283"/>
                <a:gd name="T11" fmla="*/ 110 h 126"/>
                <a:gd name="T12" fmla="*/ 147 w 283"/>
                <a:gd name="T13" fmla="*/ 126 h 126"/>
                <a:gd name="T14" fmla="*/ 122 w 283"/>
                <a:gd name="T15" fmla="*/ 120 h 126"/>
                <a:gd name="T16" fmla="*/ 110 w 283"/>
                <a:gd name="T17" fmla="*/ 121 h 126"/>
                <a:gd name="T18" fmla="*/ 84 w 283"/>
                <a:gd name="T19" fmla="*/ 126 h 126"/>
                <a:gd name="T20" fmla="*/ 111 w 283"/>
                <a:gd name="T21" fmla="*/ 93 h 126"/>
                <a:gd name="T22" fmla="*/ 55 w 283"/>
                <a:gd name="T23" fmla="*/ 72 h 126"/>
                <a:gd name="T24" fmla="*/ 15 w 283"/>
                <a:gd name="T25" fmla="*/ 126 h 126"/>
                <a:gd name="T26" fmla="*/ 0 w 283"/>
                <a:gd name="T27" fmla="*/ 117 h 126"/>
                <a:gd name="T28" fmla="*/ 42 w 283"/>
                <a:gd name="T29" fmla="*/ 63 h 126"/>
                <a:gd name="T30" fmla="*/ 87 w 283"/>
                <a:gd name="T31" fmla="*/ 0 h 126"/>
                <a:gd name="T32" fmla="*/ 114 w 283"/>
                <a:gd name="T33" fmla="*/ 12 h 126"/>
                <a:gd name="T34" fmla="*/ 140 w 283"/>
                <a:gd name="T35" fmla="*/ 56 h 126"/>
                <a:gd name="T36" fmla="*/ 120 w 283"/>
                <a:gd name="T37" fmla="*/ 0 h 126"/>
                <a:gd name="T38" fmla="*/ 152 w 283"/>
                <a:gd name="T39" fmla="*/ 8 h 126"/>
                <a:gd name="T40" fmla="*/ 182 w 283"/>
                <a:gd name="T41" fmla="*/ 7 h 126"/>
                <a:gd name="T42" fmla="*/ 210 w 283"/>
                <a:gd name="T43" fmla="*/ 0 h 126"/>
                <a:gd name="T44" fmla="*/ 167 w 283"/>
                <a:gd name="T45" fmla="*/ 51 h 126"/>
                <a:gd name="T46" fmla="*/ 171 w 283"/>
                <a:gd name="T47" fmla="*/ 65 h 126"/>
                <a:gd name="T48" fmla="*/ 213 w 283"/>
                <a:gd name="T49" fmla="*/ 9 h 126"/>
                <a:gd name="T50" fmla="*/ 243 w 283"/>
                <a:gd name="T51" fmla="*/ 0 h 126"/>
                <a:gd name="T52" fmla="*/ 260 w 283"/>
                <a:gd name="T53" fmla="*/ 63 h 126"/>
                <a:gd name="T54" fmla="*/ 197 w 283"/>
                <a:gd name="T55" fmla="*/ 58 h 126"/>
                <a:gd name="T56" fmla="*/ 224 w 283"/>
                <a:gd name="T57" fmla="*/ 33 h 126"/>
                <a:gd name="T58" fmla="*/ 222 w 283"/>
                <a:gd name="T59" fmla="*/ 24 h 126"/>
                <a:gd name="T60" fmla="*/ 67 w 283"/>
                <a:gd name="T61" fmla="*/ 58 h 126"/>
                <a:gd name="T62" fmla="*/ 93 w 283"/>
                <a:gd name="T63" fmla="*/ 33 h 126"/>
                <a:gd name="T64" fmla="*/ 92 w 283"/>
                <a:gd name="T65" fmla="*/ 24 h 126"/>
                <a:gd name="T66" fmla="*/ 152 w 283"/>
                <a:gd name="T67" fmla="*/ 90 h 126"/>
                <a:gd name="T68" fmla="*/ 137 w 283"/>
                <a:gd name="T69" fmla="*/ 85 h 12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eaLnBrk="1" hangingPunct="1"/>
              <a:endParaRPr lang="en-GB" sz="18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4" name="Parallélogramme 14"/>
          <p:cNvSpPr>
            <a:spLocks noChangeAspect="1"/>
          </p:cNvSpPr>
          <p:nvPr/>
        </p:nvSpPr>
        <p:spPr>
          <a:xfrm>
            <a:off x="233364" y="-11906"/>
            <a:ext cx="695325" cy="564356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8" rIns="91397" bIns="45698" anchor="ctr"/>
          <a:lstStyle/>
          <a:p>
            <a:pPr algn="ctr" defTabSz="91397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solidFill>
                <a:prstClr val="white"/>
              </a:solidFill>
            </a:endParaRPr>
          </a:p>
        </p:txBody>
      </p:sp>
      <p:cxnSp>
        <p:nvCxnSpPr>
          <p:cNvPr id="15" name="Connecteur droit 15"/>
          <p:cNvCxnSpPr/>
          <p:nvPr/>
        </p:nvCxnSpPr>
        <p:spPr>
          <a:xfrm>
            <a:off x="727076" y="551260"/>
            <a:ext cx="7681913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738192" y="1177527"/>
            <a:ext cx="7670799" cy="3352802"/>
          </a:xfrm>
          <a:prstGeom prst="rect">
            <a:avLst/>
          </a:prstGeom>
        </p:spPr>
        <p:txBody>
          <a:bodyPr/>
          <a:lstStyle>
            <a:lvl1pPr marL="285617" indent="-285617">
              <a:buSzPct val="120000"/>
              <a:buFontTx/>
              <a:buBlip>
                <a:blip r:embed="rId6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604" indent="-285617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410" indent="-163438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80" y="614555"/>
            <a:ext cx="7670799" cy="286346"/>
          </a:xfrm>
          <a:prstGeom prst="rect">
            <a:avLst/>
          </a:prstGeom>
        </p:spPr>
        <p:txBody>
          <a:bodyPr>
            <a:normAutofit/>
          </a:bodyPr>
          <a:lstStyle>
            <a:lvl1pPr marL="285617" indent="-285617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604" indent="-285617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410" indent="-163438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numéro de diapositive 1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38287FCE-E5A2-4C95-B23B-BE9F6B824755}" type="slidenum">
              <a:rPr lang="fr-FR"/>
              <a:pPr>
                <a:defRPr/>
              </a:pPr>
              <a:t>‹#›</a:t>
            </a:fld>
            <a:r>
              <a:rPr lang="fr-FR" dirty="0"/>
              <a:t>   |  </a:t>
            </a:r>
          </a:p>
        </p:txBody>
      </p:sp>
      <p:sp>
        <p:nvSpPr>
          <p:cNvPr id="17" name="Espace réservé du pied de page 17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8" name="Espace réservé de la date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ctr" defTabSz="914400">
              <a:defRPr sz="800" b="1" smtClean="0">
                <a:solidFill>
                  <a:srgbClr val="E40A38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T Deep Dive l September 2018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6392584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Connecteur droit 8"/>
          <p:cNvCxnSpPr/>
          <p:nvPr/>
        </p:nvCxnSpPr>
        <p:spPr>
          <a:xfrm>
            <a:off x="266701" y="4858941"/>
            <a:ext cx="798513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e 10"/>
          <p:cNvGrpSpPr>
            <a:grpSpLocks noChangeAspect="1"/>
          </p:cNvGrpSpPr>
          <p:nvPr/>
        </p:nvGrpSpPr>
        <p:grpSpPr bwMode="auto">
          <a:xfrm>
            <a:off x="8634414" y="4854179"/>
            <a:ext cx="263525" cy="196453"/>
            <a:chOff x="2654300" y="1511300"/>
            <a:chExt cx="3835401" cy="3835400"/>
          </a:xfrm>
        </p:grpSpPr>
        <p:sp>
          <p:nvSpPr>
            <p:cNvPr id="13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1281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fr-FR" altLang="en-US" sz="1800">
                <a:solidFill>
                  <a:srgbClr val="000000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4803041" y="1511300"/>
              <a:ext cx="1686660" cy="1906081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97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800" dirty="0">
                <a:solidFill>
                  <a:prstClr val="black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>
                <a:gd name="T0" fmla="*/ 283 w 283"/>
                <a:gd name="T1" fmla="*/ 126 h 126"/>
                <a:gd name="T2" fmla="*/ 250 w 283"/>
                <a:gd name="T3" fmla="*/ 115 h 126"/>
                <a:gd name="T4" fmla="*/ 186 w 283"/>
                <a:gd name="T5" fmla="*/ 72 h 126"/>
                <a:gd name="T6" fmla="*/ 188 w 283"/>
                <a:gd name="T7" fmla="*/ 115 h 126"/>
                <a:gd name="T8" fmla="*/ 163 w 283"/>
                <a:gd name="T9" fmla="*/ 126 h 126"/>
                <a:gd name="T10" fmla="*/ 159 w 283"/>
                <a:gd name="T11" fmla="*/ 110 h 126"/>
                <a:gd name="T12" fmla="*/ 147 w 283"/>
                <a:gd name="T13" fmla="*/ 126 h 126"/>
                <a:gd name="T14" fmla="*/ 122 w 283"/>
                <a:gd name="T15" fmla="*/ 120 h 126"/>
                <a:gd name="T16" fmla="*/ 110 w 283"/>
                <a:gd name="T17" fmla="*/ 121 h 126"/>
                <a:gd name="T18" fmla="*/ 84 w 283"/>
                <a:gd name="T19" fmla="*/ 126 h 126"/>
                <a:gd name="T20" fmla="*/ 111 w 283"/>
                <a:gd name="T21" fmla="*/ 93 h 126"/>
                <a:gd name="T22" fmla="*/ 55 w 283"/>
                <a:gd name="T23" fmla="*/ 72 h 126"/>
                <a:gd name="T24" fmla="*/ 15 w 283"/>
                <a:gd name="T25" fmla="*/ 126 h 126"/>
                <a:gd name="T26" fmla="*/ 0 w 283"/>
                <a:gd name="T27" fmla="*/ 117 h 126"/>
                <a:gd name="T28" fmla="*/ 42 w 283"/>
                <a:gd name="T29" fmla="*/ 63 h 126"/>
                <a:gd name="T30" fmla="*/ 87 w 283"/>
                <a:gd name="T31" fmla="*/ 0 h 126"/>
                <a:gd name="T32" fmla="*/ 114 w 283"/>
                <a:gd name="T33" fmla="*/ 12 h 126"/>
                <a:gd name="T34" fmla="*/ 140 w 283"/>
                <a:gd name="T35" fmla="*/ 56 h 126"/>
                <a:gd name="T36" fmla="*/ 120 w 283"/>
                <a:gd name="T37" fmla="*/ 0 h 126"/>
                <a:gd name="T38" fmla="*/ 152 w 283"/>
                <a:gd name="T39" fmla="*/ 8 h 126"/>
                <a:gd name="T40" fmla="*/ 182 w 283"/>
                <a:gd name="T41" fmla="*/ 7 h 126"/>
                <a:gd name="T42" fmla="*/ 210 w 283"/>
                <a:gd name="T43" fmla="*/ 0 h 126"/>
                <a:gd name="T44" fmla="*/ 167 w 283"/>
                <a:gd name="T45" fmla="*/ 51 h 126"/>
                <a:gd name="T46" fmla="*/ 171 w 283"/>
                <a:gd name="T47" fmla="*/ 65 h 126"/>
                <a:gd name="T48" fmla="*/ 213 w 283"/>
                <a:gd name="T49" fmla="*/ 9 h 126"/>
                <a:gd name="T50" fmla="*/ 243 w 283"/>
                <a:gd name="T51" fmla="*/ 0 h 126"/>
                <a:gd name="T52" fmla="*/ 260 w 283"/>
                <a:gd name="T53" fmla="*/ 63 h 126"/>
                <a:gd name="T54" fmla="*/ 197 w 283"/>
                <a:gd name="T55" fmla="*/ 58 h 126"/>
                <a:gd name="T56" fmla="*/ 224 w 283"/>
                <a:gd name="T57" fmla="*/ 33 h 126"/>
                <a:gd name="T58" fmla="*/ 222 w 283"/>
                <a:gd name="T59" fmla="*/ 24 h 126"/>
                <a:gd name="T60" fmla="*/ 67 w 283"/>
                <a:gd name="T61" fmla="*/ 58 h 126"/>
                <a:gd name="T62" fmla="*/ 93 w 283"/>
                <a:gd name="T63" fmla="*/ 33 h 126"/>
                <a:gd name="T64" fmla="*/ 92 w 283"/>
                <a:gd name="T65" fmla="*/ 24 h 126"/>
                <a:gd name="T66" fmla="*/ 152 w 283"/>
                <a:gd name="T67" fmla="*/ 90 h 126"/>
                <a:gd name="T68" fmla="*/ 137 w 283"/>
                <a:gd name="T69" fmla="*/ 85 h 12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eaLnBrk="1" hangingPunct="1"/>
              <a:endParaRPr lang="en-GB" sz="18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6" name="Parallélogramme 14"/>
          <p:cNvSpPr>
            <a:spLocks noChangeAspect="1"/>
          </p:cNvSpPr>
          <p:nvPr/>
        </p:nvSpPr>
        <p:spPr>
          <a:xfrm>
            <a:off x="233364" y="-11906"/>
            <a:ext cx="695325" cy="564356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8" rIns="91397" bIns="45698" anchor="ctr"/>
          <a:lstStyle/>
          <a:p>
            <a:pPr algn="ctr" defTabSz="91397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solidFill>
                <a:prstClr val="white"/>
              </a:solidFill>
            </a:endParaRPr>
          </a:p>
        </p:txBody>
      </p:sp>
      <p:cxnSp>
        <p:nvCxnSpPr>
          <p:cNvPr id="17" name="Connecteur droit 15"/>
          <p:cNvCxnSpPr/>
          <p:nvPr/>
        </p:nvCxnSpPr>
        <p:spPr>
          <a:xfrm>
            <a:off x="727076" y="551260"/>
            <a:ext cx="7681913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ableau 6"/>
          <p:cNvSpPr>
            <a:spLocks noGrp="1"/>
          </p:cNvSpPr>
          <p:nvPr>
            <p:ph type="tbl" sz="quarter" idx="13"/>
          </p:nvPr>
        </p:nvSpPr>
        <p:spPr>
          <a:xfrm>
            <a:off x="736604" y="1668066"/>
            <a:ext cx="7672389" cy="2862263"/>
          </a:xfrm>
        </p:spPr>
        <p:txBody>
          <a:bodyPr rtlCol="0">
            <a:normAutofit/>
          </a:bodyPr>
          <a:lstStyle>
            <a:lvl1pPr>
              <a:buFontTx/>
              <a:buNone/>
              <a:defRPr sz="1400"/>
            </a:lvl1pPr>
          </a:lstStyle>
          <a:p>
            <a:pPr lvl="0"/>
            <a:r>
              <a:rPr lang="fr-FR" noProof="0"/>
              <a:t>Cliquez sur l'icône pour ajouter un tableau</a:t>
            </a:r>
            <a:endParaRPr lang="fr-FR" noProof="0" dirty="0"/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727080" y="614555"/>
            <a:ext cx="7670799" cy="286346"/>
          </a:xfrm>
          <a:prstGeom prst="rect">
            <a:avLst/>
          </a:prstGeom>
        </p:spPr>
        <p:txBody>
          <a:bodyPr>
            <a:normAutofit/>
          </a:bodyPr>
          <a:lstStyle>
            <a:lvl1pPr marL="285617" indent="-285617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604" indent="-285617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410" indent="-163438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729561" y="1132243"/>
            <a:ext cx="3628126" cy="44533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8" name="Espace réservé du numéro de diapositive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30E4F319-FCF0-4533-A7B2-F5F19097359D}" type="slidenum">
              <a:rPr lang="fr-FR"/>
              <a:pPr>
                <a:defRPr/>
              </a:pPr>
              <a:t>‹#›</a:t>
            </a:fld>
            <a:r>
              <a:rPr lang="fr-FR" dirty="0"/>
              <a:t>   |  </a:t>
            </a:r>
          </a:p>
        </p:txBody>
      </p:sp>
      <p:sp>
        <p:nvSpPr>
          <p:cNvPr id="19" name="Espace réservé du pied de page 17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0" name="Espace réservé de la date 3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algn="ctr" defTabSz="914400">
              <a:defRPr sz="800" b="1" smtClean="0">
                <a:solidFill>
                  <a:srgbClr val="E40A38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T Deep Dive l September 2018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4184301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Chapter open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4000" y="265113"/>
            <a:ext cx="522000" cy="522000"/>
          </a:xfrm>
          <a:prstGeom prst="rect">
            <a:avLst/>
          </a:prstGeom>
          <a:noFill/>
        </p:spPr>
      </p:pic>
      <p:sp>
        <p:nvSpPr>
          <p:cNvPr id="6" name="Espace réservé du contenu 12"/>
          <p:cNvSpPr>
            <a:spLocks noGrp="1"/>
          </p:cNvSpPr>
          <p:nvPr>
            <p:ph sz="quarter" idx="11" hasCustomPrompt="1"/>
          </p:nvPr>
        </p:nvSpPr>
        <p:spPr>
          <a:xfrm>
            <a:off x="2647951" y="621506"/>
            <a:ext cx="3848100" cy="3871913"/>
          </a:xfrm>
          <a:prstGeom prst="rect">
            <a:avLst/>
          </a:prstGeom>
        </p:spPr>
        <p:txBody>
          <a:bodyPr lIns="81628" tIns="40814" rIns="81628" bIns="40814" anchor="ctr"/>
          <a:lstStyle>
            <a:lvl1pPr algn="ctr">
              <a:buNone/>
              <a:defRPr sz="26800" b="1">
                <a:solidFill>
                  <a:srgbClr val="00AEC6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7" name="Espace réservé du contenu 9"/>
          <p:cNvSpPr>
            <a:spLocks noGrp="1"/>
          </p:cNvSpPr>
          <p:nvPr>
            <p:ph sz="quarter" idx="10" hasCustomPrompt="1"/>
          </p:nvPr>
        </p:nvSpPr>
        <p:spPr>
          <a:xfrm>
            <a:off x="0" y="2260569"/>
            <a:ext cx="9144000" cy="621506"/>
          </a:xfrm>
          <a:prstGeom prst="rect">
            <a:avLst/>
          </a:prstGeom>
        </p:spPr>
        <p:txBody>
          <a:bodyPr lIns="81628" tIns="40814" rIns="81628" bIns="40814" anchor="ctr"/>
          <a:lstStyle>
            <a:lvl1pPr algn="ctr">
              <a:buNone/>
              <a:defRPr sz="3000" b="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hapter opening page</a:t>
            </a:r>
          </a:p>
        </p:txBody>
      </p:sp>
    </p:spTree>
    <p:extLst>
      <p:ext uri="{BB962C8B-B14F-4D97-AF65-F5344CB8AC3E}">
        <p14:creationId xmlns:p14="http://schemas.microsoft.com/office/powerpoint/2010/main" val="27075130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STOGRAMM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Connecteur droit 8"/>
          <p:cNvCxnSpPr/>
          <p:nvPr/>
        </p:nvCxnSpPr>
        <p:spPr>
          <a:xfrm>
            <a:off x="266701" y="4858941"/>
            <a:ext cx="798513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e 10"/>
          <p:cNvGrpSpPr>
            <a:grpSpLocks noChangeAspect="1"/>
          </p:cNvGrpSpPr>
          <p:nvPr/>
        </p:nvGrpSpPr>
        <p:grpSpPr bwMode="auto">
          <a:xfrm>
            <a:off x="8634414" y="4854179"/>
            <a:ext cx="263525" cy="196453"/>
            <a:chOff x="2654300" y="1511300"/>
            <a:chExt cx="3835401" cy="3835400"/>
          </a:xfrm>
        </p:grpSpPr>
        <p:sp>
          <p:nvSpPr>
            <p:cNvPr id="15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1281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fr-FR" altLang="en-US" sz="1800">
                <a:solidFill>
                  <a:srgbClr val="000000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16" name="Freeform 6"/>
            <p:cNvSpPr>
              <a:spLocks/>
            </p:cNvSpPr>
            <p:nvPr userDrawn="1"/>
          </p:nvSpPr>
          <p:spPr bwMode="auto">
            <a:xfrm>
              <a:off x="4803041" y="1511300"/>
              <a:ext cx="1686660" cy="1906081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97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800" dirty="0">
                <a:solidFill>
                  <a:prstClr val="black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17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>
                <a:gd name="T0" fmla="*/ 283 w 283"/>
                <a:gd name="T1" fmla="*/ 126 h 126"/>
                <a:gd name="T2" fmla="*/ 250 w 283"/>
                <a:gd name="T3" fmla="*/ 115 h 126"/>
                <a:gd name="T4" fmla="*/ 186 w 283"/>
                <a:gd name="T5" fmla="*/ 72 h 126"/>
                <a:gd name="T6" fmla="*/ 188 w 283"/>
                <a:gd name="T7" fmla="*/ 115 h 126"/>
                <a:gd name="T8" fmla="*/ 163 w 283"/>
                <a:gd name="T9" fmla="*/ 126 h 126"/>
                <a:gd name="T10" fmla="*/ 159 w 283"/>
                <a:gd name="T11" fmla="*/ 110 h 126"/>
                <a:gd name="T12" fmla="*/ 147 w 283"/>
                <a:gd name="T13" fmla="*/ 126 h 126"/>
                <a:gd name="T14" fmla="*/ 122 w 283"/>
                <a:gd name="T15" fmla="*/ 120 h 126"/>
                <a:gd name="T16" fmla="*/ 110 w 283"/>
                <a:gd name="T17" fmla="*/ 121 h 126"/>
                <a:gd name="T18" fmla="*/ 84 w 283"/>
                <a:gd name="T19" fmla="*/ 126 h 126"/>
                <a:gd name="T20" fmla="*/ 111 w 283"/>
                <a:gd name="T21" fmla="*/ 93 h 126"/>
                <a:gd name="T22" fmla="*/ 55 w 283"/>
                <a:gd name="T23" fmla="*/ 72 h 126"/>
                <a:gd name="T24" fmla="*/ 15 w 283"/>
                <a:gd name="T25" fmla="*/ 126 h 126"/>
                <a:gd name="T26" fmla="*/ 0 w 283"/>
                <a:gd name="T27" fmla="*/ 117 h 126"/>
                <a:gd name="T28" fmla="*/ 42 w 283"/>
                <a:gd name="T29" fmla="*/ 63 h 126"/>
                <a:gd name="T30" fmla="*/ 87 w 283"/>
                <a:gd name="T31" fmla="*/ 0 h 126"/>
                <a:gd name="T32" fmla="*/ 114 w 283"/>
                <a:gd name="T33" fmla="*/ 12 h 126"/>
                <a:gd name="T34" fmla="*/ 140 w 283"/>
                <a:gd name="T35" fmla="*/ 56 h 126"/>
                <a:gd name="T36" fmla="*/ 120 w 283"/>
                <a:gd name="T37" fmla="*/ 0 h 126"/>
                <a:gd name="T38" fmla="*/ 152 w 283"/>
                <a:gd name="T39" fmla="*/ 8 h 126"/>
                <a:gd name="T40" fmla="*/ 182 w 283"/>
                <a:gd name="T41" fmla="*/ 7 h 126"/>
                <a:gd name="T42" fmla="*/ 210 w 283"/>
                <a:gd name="T43" fmla="*/ 0 h 126"/>
                <a:gd name="T44" fmla="*/ 167 w 283"/>
                <a:gd name="T45" fmla="*/ 51 h 126"/>
                <a:gd name="T46" fmla="*/ 171 w 283"/>
                <a:gd name="T47" fmla="*/ 65 h 126"/>
                <a:gd name="T48" fmla="*/ 213 w 283"/>
                <a:gd name="T49" fmla="*/ 9 h 126"/>
                <a:gd name="T50" fmla="*/ 243 w 283"/>
                <a:gd name="T51" fmla="*/ 0 h 126"/>
                <a:gd name="T52" fmla="*/ 260 w 283"/>
                <a:gd name="T53" fmla="*/ 63 h 126"/>
                <a:gd name="T54" fmla="*/ 197 w 283"/>
                <a:gd name="T55" fmla="*/ 58 h 126"/>
                <a:gd name="T56" fmla="*/ 224 w 283"/>
                <a:gd name="T57" fmla="*/ 33 h 126"/>
                <a:gd name="T58" fmla="*/ 222 w 283"/>
                <a:gd name="T59" fmla="*/ 24 h 126"/>
                <a:gd name="T60" fmla="*/ 67 w 283"/>
                <a:gd name="T61" fmla="*/ 58 h 126"/>
                <a:gd name="T62" fmla="*/ 93 w 283"/>
                <a:gd name="T63" fmla="*/ 33 h 126"/>
                <a:gd name="T64" fmla="*/ 92 w 283"/>
                <a:gd name="T65" fmla="*/ 24 h 126"/>
                <a:gd name="T66" fmla="*/ 152 w 283"/>
                <a:gd name="T67" fmla="*/ 90 h 126"/>
                <a:gd name="T68" fmla="*/ 137 w 283"/>
                <a:gd name="T69" fmla="*/ 85 h 12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eaLnBrk="1" hangingPunct="1"/>
              <a:endParaRPr lang="en-GB" sz="18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8" name="Parallélogramme 14"/>
          <p:cNvSpPr>
            <a:spLocks noChangeAspect="1"/>
          </p:cNvSpPr>
          <p:nvPr/>
        </p:nvSpPr>
        <p:spPr>
          <a:xfrm>
            <a:off x="233364" y="-11906"/>
            <a:ext cx="695325" cy="564356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8" rIns="91397" bIns="45698" anchor="ctr"/>
          <a:lstStyle/>
          <a:p>
            <a:pPr algn="ctr" defTabSz="91397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solidFill>
                <a:prstClr val="white"/>
              </a:solidFill>
            </a:endParaRPr>
          </a:p>
        </p:txBody>
      </p:sp>
      <p:cxnSp>
        <p:nvCxnSpPr>
          <p:cNvPr id="19" name="Connecteur droit 15"/>
          <p:cNvCxnSpPr/>
          <p:nvPr/>
        </p:nvCxnSpPr>
        <p:spPr>
          <a:xfrm>
            <a:off x="727076" y="551260"/>
            <a:ext cx="7681913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600075" y="1665324"/>
            <a:ext cx="3757613" cy="2665810"/>
          </a:xfrm>
        </p:spPr>
        <p:txBody>
          <a:bodyPr rtlCol="0">
            <a:normAutofit/>
          </a:bodyPr>
          <a:lstStyle>
            <a:lvl1pPr>
              <a:buFontTx/>
              <a:buNone/>
              <a:defRPr/>
            </a:lvl1pPr>
          </a:lstStyle>
          <a:p>
            <a:pPr lvl="0"/>
            <a:r>
              <a:rPr lang="fr-FR" noProof="0"/>
              <a:t>Cliquez sur l'icône pour ajouter un graphique</a:t>
            </a:r>
            <a:endParaRPr lang="fr-FR" noProof="0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4663765" y="1665324"/>
            <a:ext cx="3757613" cy="2665810"/>
          </a:xfrm>
        </p:spPr>
        <p:txBody>
          <a:bodyPr rtlCol="0">
            <a:normAutofit/>
          </a:bodyPr>
          <a:lstStyle>
            <a:lvl1pPr>
              <a:buFontTx/>
              <a:buNone/>
              <a:defRPr/>
            </a:lvl1pPr>
          </a:lstStyle>
          <a:p>
            <a:pPr lvl="0"/>
            <a:r>
              <a:rPr lang="fr-FR" noProof="0"/>
              <a:t>Cliquez sur l'icône pour ajouter un graphique</a:t>
            </a:r>
            <a:endParaRPr lang="fr-FR" noProof="0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729561" y="1132243"/>
            <a:ext cx="3628126" cy="44533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63256" y="1132243"/>
            <a:ext cx="3546985" cy="44533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727080" y="614555"/>
            <a:ext cx="7670799" cy="286346"/>
          </a:xfrm>
          <a:prstGeom prst="rect">
            <a:avLst/>
          </a:prstGeom>
        </p:spPr>
        <p:txBody>
          <a:bodyPr>
            <a:normAutofit/>
          </a:bodyPr>
          <a:lstStyle>
            <a:lvl1pPr marL="285617" indent="-285617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604" indent="-285617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410" indent="-163438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numéro de diapositive 2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4DEBD0F1-8702-4297-BCC6-C9680DE14735}" type="slidenum">
              <a:rPr lang="fr-FR"/>
              <a:pPr>
                <a:defRPr/>
              </a:pPr>
              <a:t>‹#›</a:t>
            </a:fld>
            <a:r>
              <a:rPr lang="fr-FR" dirty="0"/>
              <a:t>   |  </a:t>
            </a:r>
          </a:p>
        </p:txBody>
      </p:sp>
      <p:sp>
        <p:nvSpPr>
          <p:cNvPr id="21" name="Espace réservé du pied de page 2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2" name="Espace réservé de la date 3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algn="ctr" defTabSz="914400">
              <a:defRPr sz="800" b="1" smtClean="0">
                <a:solidFill>
                  <a:srgbClr val="E40A38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T Deep Dive l September 2018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537239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STOGRAMM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Connecteur droit 8"/>
          <p:cNvCxnSpPr/>
          <p:nvPr/>
        </p:nvCxnSpPr>
        <p:spPr>
          <a:xfrm>
            <a:off x="266701" y="4858941"/>
            <a:ext cx="798513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e 10"/>
          <p:cNvGrpSpPr>
            <a:grpSpLocks noChangeAspect="1"/>
          </p:cNvGrpSpPr>
          <p:nvPr/>
        </p:nvGrpSpPr>
        <p:grpSpPr bwMode="auto">
          <a:xfrm>
            <a:off x="8634414" y="4854179"/>
            <a:ext cx="263525" cy="196453"/>
            <a:chOff x="2654300" y="1511300"/>
            <a:chExt cx="3835401" cy="3835400"/>
          </a:xfrm>
        </p:grpSpPr>
        <p:sp>
          <p:nvSpPr>
            <p:cNvPr id="20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1281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fr-FR" altLang="en-US" sz="1800">
                <a:solidFill>
                  <a:srgbClr val="000000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21" name="Freeform 6"/>
            <p:cNvSpPr>
              <a:spLocks/>
            </p:cNvSpPr>
            <p:nvPr userDrawn="1"/>
          </p:nvSpPr>
          <p:spPr bwMode="auto">
            <a:xfrm>
              <a:off x="4803041" y="1511300"/>
              <a:ext cx="1686660" cy="1906081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97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800" dirty="0">
                <a:solidFill>
                  <a:prstClr val="black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22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>
                <a:gd name="T0" fmla="*/ 283 w 283"/>
                <a:gd name="T1" fmla="*/ 126 h 126"/>
                <a:gd name="T2" fmla="*/ 250 w 283"/>
                <a:gd name="T3" fmla="*/ 115 h 126"/>
                <a:gd name="T4" fmla="*/ 186 w 283"/>
                <a:gd name="T5" fmla="*/ 72 h 126"/>
                <a:gd name="T6" fmla="*/ 188 w 283"/>
                <a:gd name="T7" fmla="*/ 115 h 126"/>
                <a:gd name="T8" fmla="*/ 163 w 283"/>
                <a:gd name="T9" fmla="*/ 126 h 126"/>
                <a:gd name="T10" fmla="*/ 159 w 283"/>
                <a:gd name="T11" fmla="*/ 110 h 126"/>
                <a:gd name="T12" fmla="*/ 147 w 283"/>
                <a:gd name="T13" fmla="*/ 126 h 126"/>
                <a:gd name="T14" fmla="*/ 122 w 283"/>
                <a:gd name="T15" fmla="*/ 120 h 126"/>
                <a:gd name="T16" fmla="*/ 110 w 283"/>
                <a:gd name="T17" fmla="*/ 121 h 126"/>
                <a:gd name="T18" fmla="*/ 84 w 283"/>
                <a:gd name="T19" fmla="*/ 126 h 126"/>
                <a:gd name="T20" fmla="*/ 111 w 283"/>
                <a:gd name="T21" fmla="*/ 93 h 126"/>
                <a:gd name="T22" fmla="*/ 55 w 283"/>
                <a:gd name="T23" fmla="*/ 72 h 126"/>
                <a:gd name="T24" fmla="*/ 15 w 283"/>
                <a:gd name="T25" fmla="*/ 126 h 126"/>
                <a:gd name="T26" fmla="*/ 0 w 283"/>
                <a:gd name="T27" fmla="*/ 117 h 126"/>
                <a:gd name="T28" fmla="*/ 42 w 283"/>
                <a:gd name="T29" fmla="*/ 63 h 126"/>
                <a:gd name="T30" fmla="*/ 87 w 283"/>
                <a:gd name="T31" fmla="*/ 0 h 126"/>
                <a:gd name="T32" fmla="*/ 114 w 283"/>
                <a:gd name="T33" fmla="*/ 12 h 126"/>
                <a:gd name="T34" fmla="*/ 140 w 283"/>
                <a:gd name="T35" fmla="*/ 56 h 126"/>
                <a:gd name="T36" fmla="*/ 120 w 283"/>
                <a:gd name="T37" fmla="*/ 0 h 126"/>
                <a:gd name="T38" fmla="*/ 152 w 283"/>
                <a:gd name="T39" fmla="*/ 8 h 126"/>
                <a:gd name="T40" fmla="*/ 182 w 283"/>
                <a:gd name="T41" fmla="*/ 7 h 126"/>
                <a:gd name="T42" fmla="*/ 210 w 283"/>
                <a:gd name="T43" fmla="*/ 0 h 126"/>
                <a:gd name="T44" fmla="*/ 167 w 283"/>
                <a:gd name="T45" fmla="*/ 51 h 126"/>
                <a:gd name="T46" fmla="*/ 171 w 283"/>
                <a:gd name="T47" fmla="*/ 65 h 126"/>
                <a:gd name="T48" fmla="*/ 213 w 283"/>
                <a:gd name="T49" fmla="*/ 9 h 126"/>
                <a:gd name="T50" fmla="*/ 243 w 283"/>
                <a:gd name="T51" fmla="*/ 0 h 126"/>
                <a:gd name="T52" fmla="*/ 260 w 283"/>
                <a:gd name="T53" fmla="*/ 63 h 126"/>
                <a:gd name="T54" fmla="*/ 197 w 283"/>
                <a:gd name="T55" fmla="*/ 58 h 126"/>
                <a:gd name="T56" fmla="*/ 224 w 283"/>
                <a:gd name="T57" fmla="*/ 33 h 126"/>
                <a:gd name="T58" fmla="*/ 222 w 283"/>
                <a:gd name="T59" fmla="*/ 24 h 126"/>
                <a:gd name="T60" fmla="*/ 67 w 283"/>
                <a:gd name="T61" fmla="*/ 58 h 126"/>
                <a:gd name="T62" fmla="*/ 93 w 283"/>
                <a:gd name="T63" fmla="*/ 33 h 126"/>
                <a:gd name="T64" fmla="*/ 92 w 283"/>
                <a:gd name="T65" fmla="*/ 24 h 126"/>
                <a:gd name="T66" fmla="*/ 152 w 283"/>
                <a:gd name="T67" fmla="*/ 90 h 126"/>
                <a:gd name="T68" fmla="*/ 137 w 283"/>
                <a:gd name="T69" fmla="*/ 85 h 12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eaLnBrk="1" hangingPunct="1"/>
              <a:endParaRPr lang="en-GB" sz="18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23" name="Parallélogramme 14"/>
          <p:cNvSpPr>
            <a:spLocks noChangeAspect="1"/>
          </p:cNvSpPr>
          <p:nvPr/>
        </p:nvSpPr>
        <p:spPr>
          <a:xfrm>
            <a:off x="233364" y="-11906"/>
            <a:ext cx="695325" cy="564356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8" rIns="91397" bIns="45698" anchor="ctr"/>
          <a:lstStyle/>
          <a:p>
            <a:pPr algn="ctr" defTabSz="91397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solidFill>
                <a:prstClr val="white"/>
              </a:solidFill>
            </a:endParaRPr>
          </a:p>
        </p:txBody>
      </p:sp>
      <p:cxnSp>
        <p:nvCxnSpPr>
          <p:cNvPr id="24" name="Connecteur droit 15"/>
          <p:cNvCxnSpPr/>
          <p:nvPr/>
        </p:nvCxnSpPr>
        <p:spPr>
          <a:xfrm>
            <a:off x="727076" y="551260"/>
            <a:ext cx="7681913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600075" y="1662218"/>
            <a:ext cx="3757613" cy="1079999"/>
          </a:xfrm>
        </p:spPr>
        <p:txBody>
          <a:bodyPr rtlCol="0">
            <a:normAutofit/>
          </a:bodyPr>
          <a:lstStyle>
            <a:lvl1pPr>
              <a:buFontTx/>
              <a:buNone/>
              <a:defRPr/>
            </a:lvl1pPr>
          </a:lstStyle>
          <a:p>
            <a:pPr lvl="0"/>
            <a:r>
              <a:rPr lang="fr-FR" noProof="0"/>
              <a:t>Cliquez sur l'icône pour ajouter un graphique</a:t>
            </a:r>
            <a:endParaRPr lang="fr-FR" noProof="0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4663765" y="1662218"/>
            <a:ext cx="3757613" cy="1079999"/>
          </a:xfrm>
        </p:spPr>
        <p:txBody>
          <a:bodyPr rtlCol="0">
            <a:normAutofit/>
          </a:bodyPr>
          <a:lstStyle>
            <a:lvl1pPr>
              <a:buFontTx/>
              <a:buNone/>
              <a:defRPr/>
            </a:lvl1pPr>
          </a:lstStyle>
          <a:p>
            <a:pPr lvl="0"/>
            <a:r>
              <a:rPr lang="fr-FR" noProof="0"/>
              <a:t>Cliquez sur l'icône pour ajouter un graphique</a:t>
            </a:r>
            <a:endParaRPr lang="fr-FR" noProof="0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729561" y="1132243"/>
            <a:ext cx="3628126" cy="44533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63256" y="1132243"/>
            <a:ext cx="3546985" cy="44533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727080" y="614555"/>
            <a:ext cx="7670799" cy="286346"/>
          </a:xfrm>
          <a:prstGeom prst="rect">
            <a:avLst/>
          </a:prstGeom>
        </p:spPr>
        <p:txBody>
          <a:bodyPr>
            <a:normAutofit/>
          </a:bodyPr>
          <a:lstStyle>
            <a:lvl1pPr marL="285617" indent="-285617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604" indent="-285617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410" indent="-163438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graphique 8"/>
          <p:cNvSpPr>
            <a:spLocks noGrp="1"/>
          </p:cNvSpPr>
          <p:nvPr>
            <p:ph type="chart" sz="quarter" idx="17"/>
          </p:nvPr>
        </p:nvSpPr>
        <p:spPr>
          <a:xfrm>
            <a:off x="593454" y="3441921"/>
            <a:ext cx="3757613" cy="1079999"/>
          </a:xfrm>
        </p:spPr>
        <p:txBody>
          <a:bodyPr rtlCol="0">
            <a:normAutofit/>
          </a:bodyPr>
          <a:lstStyle>
            <a:lvl1pPr>
              <a:buFontTx/>
              <a:buNone/>
              <a:defRPr/>
            </a:lvl1pPr>
          </a:lstStyle>
          <a:p>
            <a:pPr lvl="0"/>
            <a:r>
              <a:rPr lang="fr-FR" noProof="0"/>
              <a:t>Cliquez sur l'icône pour ajouter un graphique</a:t>
            </a:r>
            <a:endParaRPr lang="fr-FR" noProof="0" dirty="0"/>
          </a:p>
        </p:txBody>
      </p:sp>
      <p:sp>
        <p:nvSpPr>
          <p:cNvPr id="15" name="Espace réservé du graphique 8"/>
          <p:cNvSpPr>
            <a:spLocks noGrp="1"/>
          </p:cNvSpPr>
          <p:nvPr>
            <p:ph type="chart" sz="quarter" idx="18"/>
          </p:nvPr>
        </p:nvSpPr>
        <p:spPr>
          <a:xfrm>
            <a:off x="4657141" y="3441921"/>
            <a:ext cx="3757613" cy="1079999"/>
          </a:xfrm>
        </p:spPr>
        <p:txBody>
          <a:bodyPr rtlCol="0">
            <a:normAutofit/>
          </a:bodyPr>
          <a:lstStyle>
            <a:lvl1pPr>
              <a:buFontTx/>
              <a:buNone/>
              <a:defRPr/>
            </a:lvl1pPr>
          </a:lstStyle>
          <a:p>
            <a:pPr lvl="0"/>
            <a:r>
              <a:rPr lang="fr-FR" noProof="0"/>
              <a:t>Cliquez sur l'icône pour ajouter un graphique</a:t>
            </a:r>
            <a:endParaRPr lang="fr-FR" noProof="0" dirty="0"/>
          </a:p>
        </p:txBody>
      </p:sp>
      <p:sp>
        <p:nvSpPr>
          <p:cNvPr id="16" name="Espace réservé du texte 5"/>
          <p:cNvSpPr>
            <a:spLocks noGrp="1"/>
          </p:cNvSpPr>
          <p:nvPr>
            <p:ph type="body" sz="quarter" idx="19"/>
          </p:nvPr>
        </p:nvSpPr>
        <p:spPr>
          <a:xfrm>
            <a:off x="722938" y="2926855"/>
            <a:ext cx="3628126" cy="44533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4756633" y="2926855"/>
            <a:ext cx="3546985" cy="44533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Espace réservé du numéro de diapositive 2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EE3DFD50-F945-412A-BCFD-9DDA992C11B1}" type="slidenum">
              <a:rPr lang="fr-FR"/>
              <a:pPr>
                <a:defRPr/>
              </a:pPr>
              <a:t>‹#›</a:t>
            </a:fld>
            <a:r>
              <a:rPr lang="fr-FR" dirty="0"/>
              <a:t>   |  </a:t>
            </a:r>
          </a:p>
        </p:txBody>
      </p:sp>
      <p:sp>
        <p:nvSpPr>
          <p:cNvPr id="26" name="Espace réservé du pied de page 2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7" name="Espace réservé de la date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algn="ctr" defTabSz="914400">
              <a:defRPr sz="800" b="1" smtClean="0">
                <a:solidFill>
                  <a:srgbClr val="E40A38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T Deep Dive l September 2018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8012523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MEMB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Connecteur droit 8"/>
          <p:cNvCxnSpPr/>
          <p:nvPr/>
        </p:nvCxnSpPr>
        <p:spPr>
          <a:xfrm>
            <a:off x="266701" y="4858941"/>
            <a:ext cx="798513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e 10"/>
          <p:cNvGrpSpPr>
            <a:grpSpLocks noChangeAspect="1"/>
          </p:cNvGrpSpPr>
          <p:nvPr/>
        </p:nvGrpSpPr>
        <p:grpSpPr bwMode="auto">
          <a:xfrm>
            <a:off x="8634414" y="4854179"/>
            <a:ext cx="263525" cy="196453"/>
            <a:chOff x="2654300" y="1511300"/>
            <a:chExt cx="3835401" cy="3835400"/>
          </a:xfrm>
        </p:grpSpPr>
        <p:sp>
          <p:nvSpPr>
            <p:cNvPr id="15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1281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fr-FR" altLang="en-US" sz="1800">
                <a:solidFill>
                  <a:srgbClr val="000000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16" name="Freeform 6"/>
            <p:cNvSpPr>
              <a:spLocks/>
            </p:cNvSpPr>
            <p:nvPr userDrawn="1"/>
          </p:nvSpPr>
          <p:spPr bwMode="auto">
            <a:xfrm>
              <a:off x="4803041" y="1511300"/>
              <a:ext cx="1686660" cy="1906081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97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800" dirty="0">
                <a:solidFill>
                  <a:prstClr val="black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17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>
                <a:gd name="T0" fmla="*/ 283 w 283"/>
                <a:gd name="T1" fmla="*/ 126 h 126"/>
                <a:gd name="T2" fmla="*/ 250 w 283"/>
                <a:gd name="T3" fmla="*/ 115 h 126"/>
                <a:gd name="T4" fmla="*/ 186 w 283"/>
                <a:gd name="T5" fmla="*/ 72 h 126"/>
                <a:gd name="T6" fmla="*/ 188 w 283"/>
                <a:gd name="T7" fmla="*/ 115 h 126"/>
                <a:gd name="T8" fmla="*/ 163 w 283"/>
                <a:gd name="T9" fmla="*/ 126 h 126"/>
                <a:gd name="T10" fmla="*/ 159 w 283"/>
                <a:gd name="T11" fmla="*/ 110 h 126"/>
                <a:gd name="T12" fmla="*/ 147 w 283"/>
                <a:gd name="T13" fmla="*/ 126 h 126"/>
                <a:gd name="T14" fmla="*/ 122 w 283"/>
                <a:gd name="T15" fmla="*/ 120 h 126"/>
                <a:gd name="T16" fmla="*/ 110 w 283"/>
                <a:gd name="T17" fmla="*/ 121 h 126"/>
                <a:gd name="T18" fmla="*/ 84 w 283"/>
                <a:gd name="T19" fmla="*/ 126 h 126"/>
                <a:gd name="T20" fmla="*/ 111 w 283"/>
                <a:gd name="T21" fmla="*/ 93 h 126"/>
                <a:gd name="T22" fmla="*/ 55 w 283"/>
                <a:gd name="T23" fmla="*/ 72 h 126"/>
                <a:gd name="T24" fmla="*/ 15 w 283"/>
                <a:gd name="T25" fmla="*/ 126 h 126"/>
                <a:gd name="T26" fmla="*/ 0 w 283"/>
                <a:gd name="T27" fmla="*/ 117 h 126"/>
                <a:gd name="T28" fmla="*/ 42 w 283"/>
                <a:gd name="T29" fmla="*/ 63 h 126"/>
                <a:gd name="T30" fmla="*/ 87 w 283"/>
                <a:gd name="T31" fmla="*/ 0 h 126"/>
                <a:gd name="T32" fmla="*/ 114 w 283"/>
                <a:gd name="T33" fmla="*/ 12 h 126"/>
                <a:gd name="T34" fmla="*/ 140 w 283"/>
                <a:gd name="T35" fmla="*/ 56 h 126"/>
                <a:gd name="T36" fmla="*/ 120 w 283"/>
                <a:gd name="T37" fmla="*/ 0 h 126"/>
                <a:gd name="T38" fmla="*/ 152 w 283"/>
                <a:gd name="T39" fmla="*/ 8 h 126"/>
                <a:gd name="T40" fmla="*/ 182 w 283"/>
                <a:gd name="T41" fmla="*/ 7 h 126"/>
                <a:gd name="T42" fmla="*/ 210 w 283"/>
                <a:gd name="T43" fmla="*/ 0 h 126"/>
                <a:gd name="T44" fmla="*/ 167 w 283"/>
                <a:gd name="T45" fmla="*/ 51 h 126"/>
                <a:gd name="T46" fmla="*/ 171 w 283"/>
                <a:gd name="T47" fmla="*/ 65 h 126"/>
                <a:gd name="T48" fmla="*/ 213 w 283"/>
                <a:gd name="T49" fmla="*/ 9 h 126"/>
                <a:gd name="T50" fmla="*/ 243 w 283"/>
                <a:gd name="T51" fmla="*/ 0 h 126"/>
                <a:gd name="T52" fmla="*/ 260 w 283"/>
                <a:gd name="T53" fmla="*/ 63 h 126"/>
                <a:gd name="T54" fmla="*/ 197 w 283"/>
                <a:gd name="T55" fmla="*/ 58 h 126"/>
                <a:gd name="T56" fmla="*/ 224 w 283"/>
                <a:gd name="T57" fmla="*/ 33 h 126"/>
                <a:gd name="T58" fmla="*/ 222 w 283"/>
                <a:gd name="T59" fmla="*/ 24 h 126"/>
                <a:gd name="T60" fmla="*/ 67 w 283"/>
                <a:gd name="T61" fmla="*/ 58 h 126"/>
                <a:gd name="T62" fmla="*/ 93 w 283"/>
                <a:gd name="T63" fmla="*/ 33 h 126"/>
                <a:gd name="T64" fmla="*/ 92 w 283"/>
                <a:gd name="T65" fmla="*/ 24 h 126"/>
                <a:gd name="T66" fmla="*/ 152 w 283"/>
                <a:gd name="T67" fmla="*/ 90 h 126"/>
                <a:gd name="T68" fmla="*/ 137 w 283"/>
                <a:gd name="T69" fmla="*/ 85 h 12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eaLnBrk="1" hangingPunct="1"/>
              <a:endParaRPr lang="en-GB" sz="18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8" name="Parallélogramme 14"/>
          <p:cNvSpPr>
            <a:spLocks noChangeAspect="1"/>
          </p:cNvSpPr>
          <p:nvPr/>
        </p:nvSpPr>
        <p:spPr>
          <a:xfrm>
            <a:off x="233364" y="-11906"/>
            <a:ext cx="695325" cy="564356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8" rIns="91397" bIns="45698" anchor="ctr"/>
          <a:lstStyle/>
          <a:p>
            <a:pPr algn="ctr" defTabSz="91397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solidFill>
                <a:prstClr val="white"/>
              </a:solidFill>
            </a:endParaRPr>
          </a:p>
        </p:txBody>
      </p:sp>
      <p:cxnSp>
        <p:nvCxnSpPr>
          <p:cNvPr id="19" name="Connecteur droit 15"/>
          <p:cNvCxnSpPr/>
          <p:nvPr/>
        </p:nvCxnSpPr>
        <p:spPr>
          <a:xfrm>
            <a:off x="727076" y="551260"/>
            <a:ext cx="7681913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4817937" y="1177530"/>
            <a:ext cx="3591053" cy="3352800"/>
          </a:xfrm>
          <a:prstGeom prst="rect">
            <a:avLst/>
          </a:prstGeom>
        </p:spPr>
        <p:txBody>
          <a:bodyPr anchor="ctr"/>
          <a:lstStyle>
            <a:lvl1pPr marL="285617" indent="-285617">
              <a:spcBef>
                <a:spcPts val="1500"/>
              </a:spcBef>
              <a:buSzPct val="120000"/>
              <a:buFontTx/>
              <a:buBlip>
                <a:blip r:embed="rId6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604" indent="-285617">
              <a:spcBef>
                <a:spcPts val="1500"/>
              </a:spcBef>
              <a:buClr>
                <a:schemeClr val="accent2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410" indent="-163438">
              <a:spcBef>
                <a:spcPts val="1500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2" name="Titr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1108075" y="2187903"/>
            <a:ext cx="2732088" cy="1829990"/>
          </a:xfrm>
        </p:spPr>
        <p:txBody>
          <a:bodyPr rtlCol="0">
            <a:normAutofit/>
          </a:bodyPr>
          <a:lstStyle>
            <a:lvl1pPr>
              <a:buFontTx/>
              <a:buNone/>
              <a:defRPr/>
            </a:lvl1pPr>
          </a:lstStyle>
          <a:p>
            <a:pPr lvl="0"/>
            <a:r>
              <a:rPr lang="fr-FR" noProof="0"/>
              <a:t>Cliquez sur l'icône pour ajouter un graphique</a:t>
            </a:r>
            <a:endParaRPr lang="fr-FR" noProof="0" dirty="0"/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729561" y="1132243"/>
            <a:ext cx="3628126" cy="44533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727080" y="614555"/>
            <a:ext cx="7670799" cy="286346"/>
          </a:xfrm>
          <a:prstGeom prst="rect">
            <a:avLst/>
          </a:prstGeom>
        </p:spPr>
        <p:txBody>
          <a:bodyPr>
            <a:normAutofit/>
          </a:bodyPr>
          <a:lstStyle>
            <a:lvl1pPr marL="285617" indent="-285617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604" indent="-285617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410" indent="-163438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numéro de diapositive 1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9E955C17-FD3F-4A16-9928-899232CB4593}" type="slidenum">
              <a:rPr lang="fr-FR"/>
              <a:pPr>
                <a:defRPr/>
              </a:pPr>
              <a:t>‹#›</a:t>
            </a:fld>
            <a:r>
              <a:rPr lang="fr-FR" dirty="0"/>
              <a:t>   |  </a:t>
            </a:r>
          </a:p>
        </p:txBody>
      </p:sp>
      <p:sp>
        <p:nvSpPr>
          <p:cNvPr id="21" name="Espace réservé du pied de page 19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2" name="Espace réservé de la date 3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algn="ctr" defTabSz="914400">
              <a:defRPr sz="800" b="1" smtClean="0">
                <a:solidFill>
                  <a:srgbClr val="E40A38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T Deep Dive l September 2018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7102066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3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Connecteur droit 8"/>
          <p:cNvCxnSpPr/>
          <p:nvPr/>
        </p:nvCxnSpPr>
        <p:spPr>
          <a:xfrm>
            <a:off x="266701" y="4858941"/>
            <a:ext cx="798513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e 10"/>
          <p:cNvGrpSpPr>
            <a:grpSpLocks noChangeAspect="1"/>
          </p:cNvGrpSpPr>
          <p:nvPr/>
        </p:nvGrpSpPr>
        <p:grpSpPr bwMode="auto">
          <a:xfrm>
            <a:off x="8634414" y="4854179"/>
            <a:ext cx="263525" cy="196453"/>
            <a:chOff x="2654300" y="1511300"/>
            <a:chExt cx="3835401" cy="3835400"/>
          </a:xfrm>
        </p:grpSpPr>
        <p:sp>
          <p:nvSpPr>
            <p:cNvPr id="16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1281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fr-FR" altLang="en-US" sz="1800">
                <a:solidFill>
                  <a:srgbClr val="000000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4803041" y="1511300"/>
              <a:ext cx="1686660" cy="1906081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97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800" dirty="0">
                <a:solidFill>
                  <a:prstClr val="black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23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>
                <a:gd name="T0" fmla="*/ 283 w 283"/>
                <a:gd name="T1" fmla="*/ 126 h 126"/>
                <a:gd name="T2" fmla="*/ 250 w 283"/>
                <a:gd name="T3" fmla="*/ 115 h 126"/>
                <a:gd name="T4" fmla="*/ 186 w 283"/>
                <a:gd name="T5" fmla="*/ 72 h 126"/>
                <a:gd name="T6" fmla="*/ 188 w 283"/>
                <a:gd name="T7" fmla="*/ 115 h 126"/>
                <a:gd name="T8" fmla="*/ 163 w 283"/>
                <a:gd name="T9" fmla="*/ 126 h 126"/>
                <a:gd name="T10" fmla="*/ 159 w 283"/>
                <a:gd name="T11" fmla="*/ 110 h 126"/>
                <a:gd name="T12" fmla="*/ 147 w 283"/>
                <a:gd name="T13" fmla="*/ 126 h 126"/>
                <a:gd name="T14" fmla="*/ 122 w 283"/>
                <a:gd name="T15" fmla="*/ 120 h 126"/>
                <a:gd name="T16" fmla="*/ 110 w 283"/>
                <a:gd name="T17" fmla="*/ 121 h 126"/>
                <a:gd name="T18" fmla="*/ 84 w 283"/>
                <a:gd name="T19" fmla="*/ 126 h 126"/>
                <a:gd name="T20" fmla="*/ 111 w 283"/>
                <a:gd name="T21" fmla="*/ 93 h 126"/>
                <a:gd name="T22" fmla="*/ 55 w 283"/>
                <a:gd name="T23" fmla="*/ 72 h 126"/>
                <a:gd name="T24" fmla="*/ 15 w 283"/>
                <a:gd name="T25" fmla="*/ 126 h 126"/>
                <a:gd name="T26" fmla="*/ 0 w 283"/>
                <a:gd name="T27" fmla="*/ 117 h 126"/>
                <a:gd name="T28" fmla="*/ 42 w 283"/>
                <a:gd name="T29" fmla="*/ 63 h 126"/>
                <a:gd name="T30" fmla="*/ 87 w 283"/>
                <a:gd name="T31" fmla="*/ 0 h 126"/>
                <a:gd name="T32" fmla="*/ 114 w 283"/>
                <a:gd name="T33" fmla="*/ 12 h 126"/>
                <a:gd name="T34" fmla="*/ 140 w 283"/>
                <a:gd name="T35" fmla="*/ 56 h 126"/>
                <a:gd name="T36" fmla="*/ 120 w 283"/>
                <a:gd name="T37" fmla="*/ 0 h 126"/>
                <a:gd name="T38" fmla="*/ 152 w 283"/>
                <a:gd name="T39" fmla="*/ 8 h 126"/>
                <a:gd name="T40" fmla="*/ 182 w 283"/>
                <a:gd name="T41" fmla="*/ 7 h 126"/>
                <a:gd name="T42" fmla="*/ 210 w 283"/>
                <a:gd name="T43" fmla="*/ 0 h 126"/>
                <a:gd name="T44" fmla="*/ 167 w 283"/>
                <a:gd name="T45" fmla="*/ 51 h 126"/>
                <a:gd name="T46" fmla="*/ 171 w 283"/>
                <a:gd name="T47" fmla="*/ 65 h 126"/>
                <a:gd name="T48" fmla="*/ 213 w 283"/>
                <a:gd name="T49" fmla="*/ 9 h 126"/>
                <a:gd name="T50" fmla="*/ 243 w 283"/>
                <a:gd name="T51" fmla="*/ 0 h 126"/>
                <a:gd name="T52" fmla="*/ 260 w 283"/>
                <a:gd name="T53" fmla="*/ 63 h 126"/>
                <a:gd name="T54" fmla="*/ 197 w 283"/>
                <a:gd name="T55" fmla="*/ 58 h 126"/>
                <a:gd name="T56" fmla="*/ 224 w 283"/>
                <a:gd name="T57" fmla="*/ 33 h 126"/>
                <a:gd name="T58" fmla="*/ 222 w 283"/>
                <a:gd name="T59" fmla="*/ 24 h 126"/>
                <a:gd name="T60" fmla="*/ 67 w 283"/>
                <a:gd name="T61" fmla="*/ 58 h 126"/>
                <a:gd name="T62" fmla="*/ 93 w 283"/>
                <a:gd name="T63" fmla="*/ 33 h 126"/>
                <a:gd name="T64" fmla="*/ 92 w 283"/>
                <a:gd name="T65" fmla="*/ 24 h 126"/>
                <a:gd name="T66" fmla="*/ 152 w 283"/>
                <a:gd name="T67" fmla="*/ 90 h 126"/>
                <a:gd name="T68" fmla="*/ 137 w 283"/>
                <a:gd name="T69" fmla="*/ 85 h 12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eaLnBrk="1" hangingPunct="1"/>
              <a:endParaRPr lang="en-GB" sz="18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24" name="Parallélogramme 14"/>
          <p:cNvSpPr>
            <a:spLocks noChangeAspect="1"/>
          </p:cNvSpPr>
          <p:nvPr/>
        </p:nvSpPr>
        <p:spPr>
          <a:xfrm>
            <a:off x="233364" y="-11906"/>
            <a:ext cx="695325" cy="564356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8" rIns="91397" bIns="45698" anchor="ctr"/>
          <a:lstStyle/>
          <a:p>
            <a:pPr algn="ctr" defTabSz="91397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solidFill>
                <a:prstClr val="white"/>
              </a:solidFill>
            </a:endParaRPr>
          </a:p>
        </p:txBody>
      </p:sp>
      <p:cxnSp>
        <p:nvCxnSpPr>
          <p:cNvPr id="25" name="Connecteur droit 15"/>
          <p:cNvCxnSpPr/>
          <p:nvPr/>
        </p:nvCxnSpPr>
        <p:spPr>
          <a:xfrm>
            <a:off x="727076" y="551260"/>
            <a:ext cx="7681913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738188" y="1177529"/>
            <a:ext cx="2340000" cy="1213247"/>
          </a:xfrm>
          <a:prstGeom prst="rect">
            <a:avLst/>
          </a:prstGeom>
          <a:ln w="12700">
            <a:solidFill>
              <a:schemeClr val="tx2"/>
            </a:solidFill>
          </a:ln>
        </p:spPr>
        <p:txBody>
          <a:bodyPr lIns="71966" rIns="71966" anchor="ctr" anchorCtr="1"/>
          <a:lstStyle>
            <a:lvl1pPr marL="0" indent="0" algn="ctr">
              <a:buNone/>
              <a:defRPr sz="1600" b="1" i="0" cap="all" normalizeH="0" baseline="0">
                <a:solidFill>
                  <a:schemeClr val="tx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2"/>
          <p:cNvSpPr>
            <a:spLocks noGrp="1"/>
          </p:cNvSpPr>
          <p:nvPr>
            <p:ph type="body" sz="quarter" idx="11"/>
          </p:nvPr>
        </p:nvSpPr>
        <p:spPr>
          <a:xfrm>
            <a:off x="3397210" y="1177529"/>
            <a:ext cx="2340000" cy="1213247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lIns="71966" rIns="71966" anchor="ctr" anchorCtr="1"/>
          <a:lstStyle>
            <a:lvl1pPr marL="0" indent="0" algn="ctr">
              <a:buNone/>
              <a:defRPr sz="1600" b="1" i="0" cap="all" normalizeH="0" baseline="0"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12"/>
          </p:nvPr>
        </p:nvSpPr>
        <p:spPr>
          <a:xfrm>
            <a:off x="6068988" y="1177529"/>
            <a:ext cx="2340000" cy="1213247"/>
          </a:xfrm>
          <a:prstGeom prst="rect">
            <a:avLst/>
          </a:prstGeom>
          <a:ln w="12700">
            <a:solidFill>
              <a:schemeClr val="accent2"/>
            </a:solidFill>
          </a:ln>
        </p:spPr>
        <p:txBody>
          <a:bodyPr lIns="71966" rIns="71966" anchor="ctr" anchorCtr="1"/>
          <a:lstStyle>
            <a:lvl1pPr marL="0" indent="0" algn="ctr">
              <a:buNone/>
              <a:defRPr sz="1600" b="1" i="0" cap="all" normalizeH="0" baseline="0">
                <a:solidFill>
                  <a:schemeClr val="accent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732120" y="2628901"/>
            <a:ext cx="2340000" cy="1901429"/>
          </a:xfrm>
          <a:prstGeom prst="rect">
            <a:avLst/>
          </a:prstGeom>
        </p:spPr>
        <p:txBody>
          <a:bodyPr/>
          <a:lstStyle>
            <a:lvl1pPr marL="285617" indent="-285617">
              <a:buSzPct val="100000"/>
              <a:buFontTx/>
              <a:buBlip>
                <a:blip r:embed="rId6"/>
              </a:buBlip>
              <a:defRPr sz="1400">
                <a:solidFill>
                  <a:srgbClr val="404040"/>
                </a:solidFill>
                <a:latin typeface="Arial"/>
                <a:cs typeface="Arial"/>
              </a:defRPr>
            </a:lvl1pPr>
            <a:lvl2pPr marL="742604" indent="-285617">
              <a:buSzPct val="100000"/>
              <a:buFontTx/>
              <a:buBlip>
                <a:blip r:embed="rId7"/>
              </a:buBlip>
              <a:defRPr sz="1400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18"/>
          <p:cNvSpPr>
            <a:spLocks noGrp="1"/>
          </p:cNvSpPr>
          <p:nvPr>
            <p:ph type="body" sz="quarter" idx="14"/>
          </p:nvPr>
        </p:nvSpPr>
        <p:spPr>
          <a:xfrm>
            <a:off x="3410965" y="2628901"/>
            <a:ext cx="2340000" cy="1901429"/>
          </a:xfrm>
          <a:prstGeom prst="rect">
            <a:avLst/>
          </a:prstGeom>
        </p:spPr>
        <p:txBody>
          <a:bodyPr/>
          <a:lstStyle>
            <a:lvl1pPr marL="285617" indent="-285617">
              <a:buSzPct val="100000"/>
              <a:buFontTx/>
              <a:buBlip>
                <a:blip r:embed="rId8"/>
              </a:buBlip>
              <a:defRPr sz="1400">
                <a:solidFill>
                  <a:srgbClr val="404040"/>
                </a:solidFill>
                <a:latin typeface="Arial"/>
                <a:cs typeface="Arial"/>
              </a:defRPr>
            </a:lvl1pPr>
            <a:lvl2pPr marL="742604" indent="-285617">
              <a:buSzPct val="100000"/>
              <a:buFontTx/>
              <a:buBlip>
                <a:blip r:embed="rId7"/>
              </a:buBlip>
              <a:defRPr sz="1400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18"/>
          <p:cNvSpPr>
            <a:spLocks noGrp="1"/>
          </p:cNvSpPr>
          <p:nvPr>
            <p:ph type="body" sz="quarter" idx="15"/>
          </p:nvPr>
        </p:nvSpPr>
        <p:spPr>
          <a:xfrm>
            <a:off x="6067865" y="2628901"/>
            <a:ext cx="2340000" cy="1901429"/>
          </a:xfrm>
          <a:prstGeom prst="rect">
            <a:avLst/>
          </a:prstGeom>
        </p:spPr>
        <p:txBody>
          <a:bodyPr/>
          <a:lstStyle>
            <a:lvl1pPr marL="285617" indent="-285617">
              <a:buSzPct val="100000"/>
              <a:buFontTx/>
              <a:buBlip>
                <a:blip r:embed="rId9"/>
              </a:buBlip>
              <a:defRPr sz="1400">
                <a:solidFill>
                  <a:srgbClr val="404040"/>
                </a:solidFill>
                <a:latin typeface="Arial"/>
                <a:cs typeface="Arial"/>
              </a:defRPr>
            </a:lvl1pPr>
            <a:lvl2pPr marL="742604" indent="-285617">
              <a:buSzPct val="100000"/>
              <a:buFontTx/>
              <a:buBlip>
                <a:blip r:embed="rId7"/>
              </a:buBlip>
              <a:defRPr sz="1400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727080" y="614555"/>
            <a:ext cx="7670799" cy="286346"/>
          </a:xfrm>
          <a:prstGeom prst="rect">
            <a:avLst/>
          </a:prstGeom>
        </p:spPr>
        <p:txBody>
          <a:bodyPr>
            <a:normAutofit/>
          </a:bodyPr>
          <a:lstStyle>
            <a:lvl1pPr marL="285617" indent="-285617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604" indent="-285617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410" indent="-163438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Espace réservé du numéro de diapositive 2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745B4336-DE79-49B2-9F84-87376996B1E8}" type="slidenum">
              <a:rPr lang="fr-FR"/>
              <a:pPr>
                <a:defRPr/>
              </a:pPr>
              <a:t>‹#›</a:t>
            </a:fld>
            <a:r>
              <a:rPr lang="fr-FR" dirty="0"/>
              <a:t>   |  </a:t>
            </a:r>
          </a:p>
        </p:txBody>
      </p:sp>
      <p:sp>
        <p:nvSpPr>
          <p:cNvPr id="27" name="Espace réservé du pied de page 29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8" name="Espace réservé de la date 3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algn="ctr" defTabSz="914400">
              <a:defRPr sz="800" b="1" smtClean="0">
                <a:solidFill>
                  <a:srgbClr val="E40A38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T Deep Dive l September 2018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5007653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&amp; 1 BL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Connecteur droit 8"/>
          <p:cNvCxnSpPr/>
          <p:nvPr/>
        </p:nvCxnSpPr>
        <p:spPr>
          <a:xfrm>
            <a:off x="266701" y="4858941"/>
            <a:ext cx="798513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e 10"/>
          <p:cNvGrpSpPr>
            <a:grpSpLocks noChangeAspect="1"/>
          </p:cNvGrpSpPr>
          <p:nvPr/>
        </p:nvGrpSpPr>
        <p:grpSpPr bwMode="auto">
          <a:xfrm>
            <a:off x="8634414" y="4854179"/>
            <a:ext cx="263525" cy="196453"/>
            <a:chOff x="2654300" y="1511300"/>
            <a:chExt cx="3835401" cy="3835400"/>
          </a:xfrm>
        </p:grpSpPr>
        <p:sp>
          <p:nvSpPr>
            <p:cNvPr id="11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1281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fr-FR" altLang="en-US" sz="1800">
                <a:solidFill>
                  <a:srgbClr val="000000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4803041" y="1511300"/>
              <a:ext cx="1686660" cy="1906081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97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800" dirty="0">
                <a:solidFill>
                  <a:prstClr val="black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>
                <a:gd name="T0" fmla="*/ 283 w 283"/>
                <a:gd name="T1" fmla="*/ 126 h 126"/>
                <a:gd name="T2" fmla="*/ 250 w 283"/>
                <a:gd name="T3" fmla="*/ 115 h 126"/>
                <a:gd name="T4" fmla="*/ 186 w 283"/>
                <a:gd name="T5" fmla="*/ 72 h 126"/>
                <a:gd name="T6" fmla="*/ 188 w 283"/>
                <a:gd name="T7" fmla="*/ 115 h 126"/>
                <a:gd name="T8" fmla="*/ 163 w 283"/>
                <a:gd name="T9" fmla="*/ 126 h 126"/>
                <a:gd name="T10" fmla="*/ 159 w 283"/>
                <a:gd name="T11" fmla="*/ 110 h 126"/>
                <a:gd name="T12" fmla="*/ 147 w 283"/>
                <a:gd name="T13" fmla="*/ 126 h 126"/>
                <a:gd name="T14" fmla="*/ 122 w 283"/>
                <a:gd name="T15" fmla="*/ 120 h 126"/>
                <a:gd name="T16" fmla="*/ 110 w 283"/>
                <a:gd name="T17" fmla="*/ 121 h 126"/>
                <a:gd name="T18" fmla="*/ 84 w 283"/>
                <a:gd name="T19" fmla="*/ 126 h 126"/>
                <a:gd name="T20" fmla="*/ 111 w 283"/>
                <a:gd name="T21" fmla="*/ 93 h 126"/>
                <a:gd name="T22" fmla="*/ 55 w 283"/>
                <a:gd name="T23" fmla="*/ 72 h 126"/>
                <a:gd name="T24" fmla="*/ 15 w 283"/>
                <a:gd name="T25" fmla="*/ 126 h 126"/>
                <a:gd name="T26" fmla="*/ 0 w 283"/>
                <a:gd name="T27" fmla="*/ 117 h 126"/>
                <a:gd name="T28" fmla="*/ 42 w 283"/>
                <a:gd name="T29" fmla="*/ 63 h 126"/>
                <a:gd name="T30" fmla="*/ 87 w 283"/>
                <a:gd name="T31" fmla="*/ 0 h 126"/>
                <a:gd name="T32" fmla="*/ 114 w 283"/>
                <a:gd name="T33" fmla="*/ 12 h 126"/>
                <a:gd name="T34" fmla="*/ 140 w 283"/>
                <a:gd name="T35" fmla="*/ 56 h 126"/>
                <a:gd name="T36" fmla="*/ 120 w 283"/>
                <a:gd name="T37" fmla="*/ 0 h 126"/>
                <a:gd name="T38" fmla="*/ 152 w 283"/>
                <a:gd name="T39" fmla="*/ 8 h 126"/>
                <a:gd name="T40" fmla="*/ 182 w 283"/>
                <a:gd name="T41" fmla="*/ 7 h 126"/>
                <a:gd name="T42" fmla="*/ 210 w 283"/>
                <a:gd name="T43" fmla="*/ 0 h 126"/>
                <a:gd name="T44" fmla="*/ 167 w 283"/>
                <a:gd name="T45" fmla="*/ 51 h 126"/>
                <a:gd name="T46" fmla="*/ 171 w 283"/>
                <a:gd name="T47" fmla="*/ 65 h 126"/>
                <a:gd name="T48" fmla="*/ 213 w 283"/>
                <a:gd name="T49" fmla="*/ 9 h 126"/>
                <a:gd name="T50" fmla="*/ 243 w 283"/>
                <a:gd name="T51" fmla="*/ 0 h 126"/>
                <a:gd name="T52" fmla="*/ 260 w 283"/>
                <a:gd name="T53" fmla="*/ 63 h 126"/>
                <a:gd name="T54" fmla="*/ 197 w 283"/>
                <a:gd name="T55" fmla="*/ 58 h 126"/>
                <a:gd name="T56" fmla="*/ 224 w 283"/>
                <a:gd name="T57" fmla="*/ 33 h 126"/>
                <a:gd name="T58" fmla="*/ 222 w 283"/>
                <a:gd name="T59" fmla="*/ 24 h 126"/>
                <a:gd name="T60" fmla="*/ 67 w 283"/>
                <a:gd name="T61" fmla="*/ 58 h 126"/>
                <a:gd name="T62" fmla="*/ 93 w 283"/>
                <a:gd name="T63" fmla="*/ 33 h 126"/>
                <a:gd name="T64" fmla="*/ 92 w 283"/>
                <a:gd name="T65" fmla="*/ 24 h 126"/>
                <a:gd name="T66" fmla="*/ 152 w 283"/>
                <a:gd name="T67" fmla="*/ 90 h 126"/>
                <a:gd name="T68" fmla="*/ 137 w 283"/>
                <a:gd name="T69" fmla="*/ 85 h 12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eaLnBrk="1" hangingPunct="1"/>
              <a:endParaRPr lang="en-GB" sz="18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6" name="Parallélogramme 14"/>
          <p:cNvSpPr>
            <a:spLocks noChangeAspect="1"/>
          </p:cNvSpPr>
          <p:nvPr/>
        </p:nvSpPr>
        <p:spPr>
          <a:xfrm>
            <a:off x="233364" y="-11906"/>
            <a:ext cx="695325" cy="564356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8" rIns="91397" bIns="45698" anchor="ctr"/>
          <a:lstStyle/>
          <a:p>
            <a:pPr algn="ctr" defTabSz="91397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solidFill>
                <a:prstClr val="white"/>
              </a:solidFill>
            </a:endParaRPr>
          </a:p>
        </p:txBody>
      </p:sp>
      <p:cxnSp>
        <p:nvCxnSpPr>
          <p:cNvPr id="17" name="Connecteur droit 15"/>
          <p:cNvCxnSpPr/>
          <p:nvPr/>
        </p:nvCxnSpPr>
        <p:spPr>
          <a:xfrm>
            <a:off x="727076" y="551260"/>
            <a:ext cx="7681913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5857336" y="1177530"/>
            <a:ext cx="2551652" cy="335280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lIns="287866" tIns="251882" rIns="287866" bIns="251882" anchor="ctr" anchorCtr="1">
            <a:normAutofit/>
          </a:bodyPr>
          <a:lstStyle>
            <a:lvl1pPr marL="0" indent="0" algn="ctr">
              <a:buNone/>
              <a:defRPr sz="1400" b="1" i="0" cap="all" normalizeH="0" baseline="0">
                <a:ln>
                  <a:noFill/>
                </a:ln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737729" y="1177530"/>
            <a:ext cx="4283537" cy="3352800"/>
          </a:xfrm>
          <a:prstGeom prst="rect">
            <a:avLst/>
          </a:prstGeom>
        </p:spPr>
        <p:txBody>
          <a:bodyPr anchor="ctr"/>
          <a:lstStyle>
            <a:lvl1pPr marL="285617" indent="-285617">
              <a:buSzPct val="120000"/>
              <a:buFontTx/>
              <a:buBlip>
                <a:blip r:embed="rId6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604" indent="-285617">
              <a:buSzPct val="200000"/>
              <a:buFontTx/>
              <a:buBlip>
                <a:blip r:embed="rId7"/>
              </a:buBlip>
              <a:defRPr sz="1600" baseline="0">
                <a:solidFill>
                  <a:schemeClr val="tx1"/>
                </a:solidFill>
                <a:latin typeface="Arial"/>
                <a:cs typeface="Arial"/>
              </a:defRPr>
            </a:lvl2pPr>
            <a:lvl3pPr marL="1142469" indent="-228493">
              <a:buSzPct val="100000"/>
              <a:buFont typeface="Lucida Grande"/>
              <a:buChar char="&gt;"/>
              <a:defRPr sz="1400" i="1">
                <a:solidFill>
                  <a:schemeClr val="tx1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727080" y="614555"/>
            <a:ext cx="7670799" cy="286346"/>
          </a:xfrm>
          <a:prstGeom prst="rect">
            <a:avLst/>
          </a:prstGeom>
        </p:spPr>
        <p:txBody>
          <a:bodyPr>
            <a:normAutofit/>
          </a:bodyPr>
          <a:lstStyle>
            <a:lvl1pPr marL="285617" indent="-285617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604" indent="-285617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410" indent="-163438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numéro de diapositive 3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1FC74614-5E22-4978-B394-272DF262AB67}" type="slidenum">
              <a:rPr lang="fr-FR"/>
              <a:pPr>
                <a:defRPr/>
              </a:pPr>
              <a:t>‹#›</a:t>
            </a:fld>
            <a:r>
              <a:rPr lang="fr-FR" dirty="0"/>
              <a:t>   |  </a:t>
            </a:r>
          </a:p>
        </p:txBody>
      </p:sp>
      <p:sp>
        <p:nvSpPr>
          <p:cNvPr id="19" name="Espace réservé du pied de page 3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0" name="Espace réservé de la date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algn="ctr" defTabSz="914400">
              <a:defRPr sz="800" b="1" smtClean="0">
                <a:solidFill>
                  <a:srgbClr val="E40A38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T Deep Dive l September 2018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0547730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Connecteur droit 8"/>
          <p:cNvCxnSpPr/>
          <p:nvPr/>
        </p:nvCxnSpPr>
        <p:spPr>
          <a:xfrm>
            <a:off x="266701" y="4858941"/>
            <a:ext cx="798513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e 10"/>
          <p:cNvGrpSpPr>
            <a:grpSpLocks noChangeAspect="1"/>
          </p:cNvGrpSpPr>
          <p:nvPr/>
        </p:nvGrpSpPr>
        <p:grpSpPr bwMode="auto">
          <a:xfrm>
            <a:off x="8634414" y="4854179"/>
            <a:ext cx="263525" cy="196453"/>
            <a:chOff x="2654300" y="1511300"/>
            <a:chExt cx="3835401" cy="3835400"/>
          </a:xfrm>
        </p:grpSpPr>
        <p:sp>
          <p:nvSpPr>
            <p:cNvPr id="8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1281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fr-FR" altLang="en-US" sz="1800">
                <a:solidFill>
                  <a:srgbClr val="000000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4803041" y="1511300"/>
              <a:ext cx="1686660" cy="1906081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97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800" dirty="0">
                <a:solidFill>
                  <a:prstClr val="black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>
                <a:gd name="T0" fmla="*/ 283 w 283"/>
                <a:gd name="T1" fmla="*/ 126 h 126"/>
                <a:gd name="T2" fmla="*/ 250 w 283"/>
                <a:gd name="T3" fmla="*/ 115 h 126"/>
                <a:gd name="T4" fmla="*/ 186 w 283"/>
                <a:gd name="T5" fmla="*/ 72 h 126"/>
                <a:gd name="T6" fmla="*/ 188 w 283"/>
                <a:gd name="T7" fmla="*/ 115 h 126"/>
                <a:gd name="T8" fmla="*/ 163 w 283"/>
                <a:gd name="T9" fmla="*/ 126 h 126"/>
                <a:gd name="T10" fmla="*/ 159 w 283"/>
                <a:gd name="T11" fmla="*/ 110 h 126"/>
                <a:gd name="T12" fmla="*/ 147 w 283"/>
                <a:gd name="T13" fmla="*/ 126 h 126"/>
                <a:gd name="T14" fmla="*/ 122 w 283"/>
                <a:gd name="T15" fmla="*/ 120 h 126"/>
                <a:gd name="T16" fmla="*/ 110 w 283"/>
                <a:gd name="T17" fmla="*/ 121 h 126"/>
                <a:gd name="T18" fmla="*/ 84 w 283"/>
                <a:gd name="T19" fmla="*/ 126 h 126"/>
                <a:gd name="T20" fmla="*/ 111 w 283"/>
                <a:gd name="T21" fmla="*/ 93 h 126"/>
                <a:gd name="T22" fmla="*/ 55 w 283"/>
                <a:gd name="T23" fmla="*/ 72 h 126"/>
                <a:gd name="T24" fmla="*/ 15 w 283"/>
                <a:gd name="T25" fmla="*/ 126 h 126"/>
                <a:gd name="T26" fmla="*/ 0 w 283"/>
                <a:gd name="T27" fmla="*/ 117 h 126"/>
                <a:gd name="T28" fmla="*/ 42 w 283"/>
                <a:gd name="T29" fmla="*/ 63 h 126"/>
                <a:gd name="T30" fmla="*/ 87 w 283"/>
                <a:gd name="T31" fmla="*/ 0 h 126"/>
                <a:gd name="T32" fmla="*/ 114 w 283"/>
                <a:gd name="T33" fmla="*/ 12 h 126"/>
                <a:gd name="T34" fmla="*/ 140 w 283"/>
                <a:gd name="T35" fmla="*/ 56 h 126"/>
                <a:gd name="T36" fmla="*/ 120 w 283"/>
                <a:gd name="T37" fmla="*/ 0 h 126"/>
                <a:gd name="T38" fmla="*/ 152 w 283"/>
                <a:gd name="T39" fmla="*/ 8 h 126"/>
                <a:gd name="T40" fmla="*/ 182 w 283"/>
                <a:gd name="T41" fmla="*/ 7 h 126"/>
                <a:gd name="T42" fmla="*/ 210 w 283"/>
                <a:gd name="T43" fmla="*/ 0 h 126"/>
                <a:gd name="T44" fmla="*/ 167 w 283"/>
                <a:gd name="T45" fmla="*/ 51 h 126"/>
                <a:gd name="T46" fmla="*/ 171 w 283"/>
                <a:gd name="T47" fmla="*/ 65 h 126"/>
                <a:gd name="T48" fmla="*/ 213 w 283"/>
                <a:gd name="T49" fmla="*/ 9 h 126"/>
                <a:gd name="T50" fmla="*/ 243 w 283"/>
                <a:gd name="T51" fmla="*/ 0 h 126"/>
                <a:gd name="T52" fmla="*/ 260 w 283"/>
                <a:gd name="T53" fmla="*/ 63 h 126"/>
                <a:gd name="T54" fmla="*/ 197 w 283"/>
                <a:gd name="T55" fmla="*/ 58 h 126"/>
                <a:gd name="T56" fmla="*/ 224 w 283"/>
                <a:gd name="T57" fmla="*/ 33 h 126"/>
                <a:gd name="T58" fmla="*/ 222 w 283"/>
                <a:gd name="T59" fmla="*/ 24 h 126"/>
                <a:gd name="T60" fmla="*/ 67 w 283"/>
                <a:gd name="T61" fmla="*/ 58 h 126"/>
                <a:gd name="T62" fmla="*/ 93 w 283"/>
                <a:gd name="T63" fmla="*/ 33 h 126"/>
                <a:gd name="T64" fmla="*/ 92 w 283"/>
                <a:gd name="T65" fmla="*/ 24 h 126"/>
                <a:gd name="T66" fmla="*/ 152 w 283"/>
                <a:gd name="T67" fmla="*/ 90 h 126"/>
                <a:gd name="T68" fmla="*/ 137 w 283"/>
                <a:gd name="T69" fmla="*/ 85 h 12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eaLnBrk="1" hangingPunct="1"/>
              <a:endParaRPr lang="en-GB" sz="18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2" name="Parallélogramme 14"/>
          <p:cNvSpPr>
            <a:spLocks noChangeAspect="1"/>
          </p:cNvSpPr>
          <p:nvPr/>
        </p:nvSpPr>
        <p:spPr>
          <a:xfrm>
            <a:off x="233364" y="-11906"/>
            <a:ext cx="695325" cy="564356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8" rIns="91397" bIns="45698" anchor="ctr"/>
          <a:lstStyle/>
          <a:p>
            <a:pPr algn="ctr" defTabSz="91397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solidFill>
                <a:prstClr val="white"/>
              </a:solidFill>
            </a:endParaRPr>
          </a:p>
        </p:txBody>
      </p:sp>
      <p:cxnSp>
        <p:nvCxnSpPr>
          <p:cNvPr id="13" name="Connecteur droit 15"/>
          <p:cNvCxnSpPr/>
          <p:nvPr/>
        </p:nvCxnSpPr>
        <p:spPr>
          <a:xfrm>
            <a:off x="727076" y="551260"/>
            <a:ext cx="7681913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80" y="614555"/>
            <a:ext cx="7670799" cy="286346"/>
          </a:xfrm>
          <a:prstGeom prst="rect">
            <a:avLst/>
          </a:prstGeom>
        </p:spPr>
        <p:txBody>
          <a:bodyPr>
            <a:normAutofit/>
          </a:bodyPr>
          <a:lstStyle>
            <a:lvl1pPr marL="285617" indent="-285617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604" indent="-285617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410" indent="-163438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numéro de diapositive 1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9D6CC122-4E82-4A35-8ADE-50F5FA7EB2D1}" type="slidenum">
              <a:rPr lang="fr-FR"/>
              <a:pPr>
                <a:defRPr/>
              </a:pPr>
              <a:t>‹#›</a:t>
            </a:fld>
            <a:r>
              <a:rPr lang="fr-FR" dirty="0"/>
              <a:t>   |  </a:t>
            </a:r>
          </a:p>
        </p:txBody>
      </p:sp>
      <p:sp>
        <p:nvSpPr>
          <p:cNvPr id="15" name="Espace réservé du pied de page 1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6" name="Espace réservé de la date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ctr" defTabSz="914400">
              <a:defRPr sz="800" b="1" smtClean="0">
                <a:solidFill>
                  <a:srgbClr val="E40A38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T Deep Dive l September 2018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496864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ommair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necteur droit 8"/>
          <p:cNvCxnSpPr/>
          <p:nvPr/>
        </p:nvCxnSpPr>
        <p:spPr>
          <a:xfrm>
            <a:off x="266701" y="4858941"/>
            <a:ext cx="798513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e 10"/>
          <p:cNvGrpSpPr>
            <a:grpSpLocks noChangeAspect="1"/>
          </p:cNvGrpSpPr>
          <p:nvPr/>
        </p:nvGrpSpPr>
        <p:grpSpPr bwMode="auto">
          <a:xfrm>
            <a:off x="8634414" y="4854179"/>
            <a:ext cx="263525" cy="196453"/>
            <a:chOff x="2654300" y="1511300"/>
            <a:chExt cx="3835401" cy="3835400"/>
          </a:xfrm>
        </p:grpSpPr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1281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fr-FR" altLang="en-US" sz="1800">
                <a:solidFill>
                  <a:srgbClr val="000000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4803041" y="1511300"/>
              <a:ext cx="1686660" cy="1906081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97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800" dirty="0">
                <a:solidFill>
                  <a:prstClr val="black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>
                <a:gd name="T0" fmla="*/ 283 w 283"/>
                <a:gd name="T1" fmla="*/ 126 h 126"/>
                <a:gd name="T2" fmla="*/ 250 w 283"/>
                <a:gd name="T3" fmla="*/ 115 h 126"/>
                <a:gd name="T4" fmla="*/ 186 w 283"/>
                <a:gd name="T5" fmla="*/ 72 h 126"/>
                <a:gd name="T6" fmla="*/ 188 w 283"/>
                <a:gd name="T7" fmla="*/ 115 h 126"/>
                <a:gd name="T8" fmla="*/ 163 w 283"/>
                <a:gd name="T9" fmla="*/ 126 h 126"/>
                <a:gd name="T10" fmla="*/ 159 w 283"/>
                <a:gd name="T11" fmla="*/ 110 h 126"/>
                <a:gd name="T12" fmla="*/ 147 w 283"/>
                <a:gd name="T13" fmla="*/ 126 h 126"/>
                <a:gd name="T14" fmla="*/ 122 w 283"/>
                <a:gd name="T15" fmla="*/ 120 h 126"/>
                <a:gd name="T16" fmla="*/ 110 w 283"/>
                <a:gd name="T17" fmla="*/ 121 h 126"/>
                <a:gd name="T18" fmla="*/ 84 w 283"/>
                <a:gd name="T19" fmla="*/ 126 h 126"/>
                <a:gd name="T20" fmla="*/ 111 w 283"/>
                <a:gd name="T21" fmla="*/ 93 h 126"/>
                <a:gd name="T22" fmla="*/ 55 w 283"/>
                <a:gd name="T23" fmla="*/ 72 h 126"/>
                <a:gd name="T24" fmla="*/ 15 w 283"/>
                <a:gd name="T25" fmla="*/ 126 h 126"/>
                <a:gd name="T26" fmla="*/ 0 w 283"/>
                <a:gd name="T27" fmla="*/ 117 h 126"/>
                <a:gd name="T28" fmla="*/ 42 w 283"/>
                <a:gd name="T29" fmla="*/ 63 h 126"/>
                <a:gd name="T30" fmla="*/ 87 w 283"/>
                <a:gd name="T31" fmla="*/ 0 h 126"/>
                <a:gd name="T32" fmla="*/ 114 w 283"/>
                <a:gd name="T33" fmla="*/ 12 h 126"/>
                <a:gd name="T34" fmla="*/ 140 w 283"/>
                <a:gd name="T35" fmla="*/ 56 h 126"/>
                <a:gd name="T36" fmla="*/ 120 w 283"/>
                <a:gd name="T37" fmla="*/ 0 h 126"/>
                <a:gd name="T38" fmla="*/ 152 w 283"/>
                <a:gd name="T39" fmla="*/ 8 h 126"/>
                <a:gd name="T40" fmla="*/ 182 w 283"/>
                <a:gd name="T41" fmla="*/ 7 h 126"/>
                <a:gd name="T42" fmla="*/ 210 w 283"/>
                <a:gd name="T43" fmla="*/ 0 h 126"/>
                <a:gd name="T44" fmla="*/ 167 w 283"/>
                <a:gd name="T45" fmla="*/ 51 h 126"/>
                <a:gd name="T46" fmla="*/ 171 w 283"/>
                <a:gd name="T47" fmla="*/ 65 h 126"/>
                <a:gd name="T48" fmla="*/ 213 w 283"/>
                <a:gd name="T49" fmla="*/ 9 h 126"/>
                <a:gd name="T50" fmla="*/ 243 w 283"/>
                <a:gd name="T51" fmla="*/ 0 h 126"/>
                <a:gd name="T52" fmla="*/ 260 w 283"/>
                <a:gd name="T53" fmla="*/ 63 h 126"/>
                <a:gd name="T54" fmla="*/ 197 w 283"/>
                <a:gd name="T55" fmla="*/ 58 h 126"/>
                <a:gd name="T56" fmla="*/ 224 w 283"/>
                <a:gd name="T57" fmla="*/ 33 h 126"/>
                <a:gd name="T58" fmla="*/ 222 w 283"/>
                <a:gd name="T59" fmla="*/ 24 h 126"/>
                <a:gd name="T60" fmla="*/ 67 w 283"/>
                <a:gd name="T61" fmla="*/ 58 h 126"/>
                <a:gd name="T62" fmla="*/ 93 w 283"/>
                <a:gd name="T63" fmla="*/ 33 h 126"/>
                <a:gd name="T64" fmla="*/ 92 w 283"/>
                <a:gd name="T65" fmla="*/ 24 h 126"/>
                <a:gd name="T66" fmla="*/ 152 w 283"/>
                <a:gd name="T67" fmla="*/ 90 h 126"/>
                <a:gd name="T68" fmla="*/ 137 w 283"/>
                <a:gd name="T69" fmla="*/ 85 h 12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eaLnBrk="1" hangingPunct="1"/>
              <a:endParaRPr lang="en-GB" sz="18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1" name="Parallélogramme 14"/>
          <p:cNvSpPr>
            <a:spLocks noChangeAspect="1"/>
          </p:cNvSpPr>
          <p:nvPr/>
        </p:nvSpPr>
        <p:spPr>
          <a:xfrm>
            <a:off x="233364" y="-11906"/>
            <a:ext cx="695325" cy="564356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8" rIns="91397" bIns="45698" anchor="ctr"/>
          <a:lstStyle/>
          <a:p>
            <a:pPr algn="ctr" defTabSz="91397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solidFill>
                <a:prstClr val="white"/>
              </a:solidFill>
            </a:endParaRPr>
          </a:p>
        </p:txBody>
      </p:sp>
      <p:cxnSp>
        <p:nvCxnSpPr>
          <p:cNvPr id="12" name="Connecteur droit 15"/>
          <p:cNvCxnSpPr/>
          <p:nvPr/>
        </p:nvCxnSpPr>
        <p:spPr>
          <a:xfrm>
            <a:off x="727076" y="551260"/>
            <a:ext cx="7681913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/>
          </p:nvPr>
        </p:nvSpPr>
        <p:spPr>
          <a:xfrm>
            <a:off x="2838451" y="828677"/>
            <a:ext cx="5962650" cy="3687290"/>
          </a:xfrm>
        </p:spPr>
        <p:txBody>
          <a:bodyPr anchor="ctr"/>
          <a:lstStyle>
            <a:lvl1pPr marL="534740" indent="-534740">
              <a:spcBef>
                <a:spcPts val="1000"/>
              </a:spcBef>
              <a:buClr>
                <a:srgbClr val="004563"/>
              </a:buClr>
              <a:buFont typeface="+mj-lt"/>
              <a:buAutoNum type="arabicPeriod"/>
              <a:tabLst>
                <a:tab pos="4665079" algn="l"/>
              </a:tabLst>
              <a:defRPr>
                <a:latin typeface="Century Gothic" pitchFamily="34" charset="0"/>
              </a:defRPr>
            </a:lvl1pPr>
            <a:lvl2pPr marL="534740" indent="0">
              <a:spcBef>
                <a:spcPts val="0"/>
              </a:spcBef>
              <a:tabLst>
                <a:tab pos="4665079" algn="l"/>
              </a:tabLst>
              <a:defRPr sz="1000" b="1">
                <a:solidFill>
                  <a:srgbClr val="004563"/>
                </a:solidFill>
                <a:latin typeface="Century Gothic" pitchFamily="34" charset="0"/>
              </a:defRPr>
            </a:lvl2pPr>
            <a:lvl3pPr marL="801314" indent="-266574">
              <a:buClr>
                <a:srgbClr val="004563"/>
              </a:buClr>
              <a:tabLst>
                <a:tab pos="4665079" algn="l"/>
              </a:tabLst>
              <a:defRPr sz="1000" b="1">
                <a:latin typeface="Century Gothic" pitchFamily="34" charset="0"/>
              </a:defRPr>
            </a:lvl3pPr>
            <a:lvl4pPr marL="801314" indent="0">
              <a:tabLst>
                <a:tab pos="4665079" algn="l"/>
              </a:tabLst>
              <a:defRPr sz="1000">
                <a:latin typeface="Century Gothic" pitchFamily="34" charset="0"/>
              </a:defRPr>
            </a:lvl4pPr>
            <a:lvl5pPr marL="896521" indent="-95207">
              <a:tabLst/>
              <a:defRPr sz="10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Espace réservé du numéro de diapositive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55C9781B-3566-473A-A11A-01CC024E0B3D}" type="slidenum">
              <a:rPr lang="fr-FR"/>
              <a:pPr>
                <a:defRPr/>
              </a:pPr>
              <a:t>‹#›</a:t>
            </a:fld>
            <a:r>
              <a:rPr lang="fr-FR" dirty="0"/>
              <a:t>   |  </a:t>
            </a:r>
          </a:p>
        </p:txBody>
      </p:sp>
      <p:sp>
        <p:nvSpPr>
          <p:cNvPr id="14" name="Espace réservé du pied de page 1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5" name="Espace réservé de la date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algn="ctr" defTabSz="914400">
              <a:defRPr sz="800" b="1" smtClean="0">
                <a:solidFill>
                  <a:srgbClr val="E40A38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T Deep Dive l September 2018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507545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necteur droit 8"/>
          <p:cNvCxnSpPr/>
          <p:nvPr/>
        </p:nvCxnSpPr>
        <p:spPr>
          <a:xfrm>
            <a:off x="266701" y="4858941"/>
            <a:ext cx="798513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e 10"/>
          <p:cNvGrpSpPr>
            <a:grpSpLocks noChangeAspect="1"/>
          </p:cNvGrpSpPr>
          <p:nvPr/>
        </p:nvGrpSpPr>
        <p:grpSpPr bwMode="auto">
          <a:xfrm>
            <a:off x="8634414" y="4854179"/>
            <a:ext cx="263525" cy="196453"/>
            <a:chOff x="2654300" y="1511300"/>
            <a:chExt cx="3835401" cy="3835400"/>
          </a:xfrm>
        </p:grpSpPr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1281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fr-FR" altLang="en-US" sz="1800">
                <a:solidFill>
                  <a:srgbClr val="000000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4803041" y="1511300"/>
              <a:ext cx="1686660" cy="1906081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97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800" dirty="0">
                <a:solidFill>
                  <a:prstClr val="black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>
                <a:gd name="T0" fmla="*/ 283 w 283"/>
                <a:gd name="T1" fmla="*/ 126 h 126"/>
                <a:gd name="T2" fmla="*/ 250 w 283"/>
                <a:gd name="T3" fmla="*/ 115 h 126"/>
                <a:gd name="T4" fmla="*/ 186 w 283"/>
                <a:gd name="T5" fmla="*/ 72 h 126"/>
                <a:gd name="T6" fmla="*/ 188 w 283"/>
                <a:gd name="T7" fmla="*/ 115 h 126"/>
                <a:gd name="T8" fmla="*/ 163 w 283"/>
                <a:gd name="T9" fmla="*/ 126 h 126"/>
                <a:gd name="T10" fmla="*/ 159 w 283"/>
                <a:gd name="T11" fmla="*/ 110 h 126"/>
                <a:gd name="T12" fmla="*/ 147 w 283"/>
                <a:gd name="T13" fmla="*/ 126 h 126"/>
                <a:gd name="T14" fmla="*/ 122 w 283"/>
                <a:gd name="T15" fmla="*/ 120 h 126"/>
                <a:gd name="T16" fmla="*/ 110 w 283"/>
                <a:gd name="T17" fmla="*/ 121 h 126"/>
                <a:gd name="T18" fmla="*/ 84 w 283"/>
                <a:gd name="T19" fmla="*/ 126 h 126"/>
                <a:gd name="T20" fmla="*/ 111 w 283"/>
                <a:gd name="T21" fmla="*/ 93 h 126"/>
                <a:gd name="T22" fmla="*/ 55 w 283"/>
                <a:gd name="T23" fmla="*/ 72 h 126"/>
                <a:gd name="T24" fmla="*/ 15 w 283"/>
                <a:gd name="T25" fmla="*/ 126 h 126"/>
                <a:gd name="T26" fmla="*/ 0 w 283"/>
                <a:gd name="T27" fmla="*/ 117 h 126"/>
                <a:gd name="T28" fmla="*/ 42 w 283"/>
                <a:gd name="T29" fmla="*/ 63 h 126"/>
                <a:gd name="T30" fmla="*/ 87 w 283"/>
                <a:gd name="T31" fmla="*/ 0 h 126"/>
                <a:gd name="T32" fmla="*/ 114 w 283"/>
                <a:gd name="T33" fmla="*/ 12 h 126"/>
                <a:gd name="T34" fmla="*/ 140 w 283"/>
                <a:gd name="T35" fmla="*/ 56 h 126"/>
                <a:gd name="T36" fmla="*/ 120 w 283"/>
                <a:gd name="T37" fmla="*/ 0 h 126"/>
                <a:gd name="T38" fmla="*/ 152 w 283"/>
                <a:gd name="T39" fmla="*/ 8 h 126"/>
                <a:gd name="T40" fmla="*/ 182 w 283"/>
                <a:gd name="T41" fmla="*/ 7 h 126"/>
                <a:gd name="T42" fmla="*/ 210 w 283"/>
                <a:gd name="T43" fmla="*/ 0 h 126"/>
                <a:gd name="T44" fmla="*/ 167 w 283"/>
                <a:gd name="T45" fmla="*/ 51 h 126"/>
                <a:gd name="T46" fmla="*/ 171 w 283"/>
                <a:gd name="T47" fmla="*/ 65 h 126"/>
                <a:gd name="T48" fmla="*/ 213 w 283"/>
                <a:gd name="T49" fmla="*/ 9 h 126"/>
                <a:gd name="T50" fmla="*/ 243 w 283"/>
                <a:gd name="T51" fmla="*/ 0 h 126"/>
                <a:gd name="T52" fmla="*/ 260 w 283"/>
                <a:gd name="T53" fmla="*/ 63 h 126"/>
                <a:gd name="T54" fmla="*/ 197 w 283"/>
                <a:gd name="T55" fmla="*/ 58 h 126"/>
                <a:gd name="T56" fmla="*/ 224 w 283"/>
                <a:gd name="T57" fmla="*/ 33 h 126"/>
                <a:gd name="T58" fmla="*/ 222 w 283"/>
                <a:gd name="T59" fmla="*/ 24 h 126"/>
                <a:gd name="T60" fmla="*/ 67 w 283"/>
                <a:gd name="T61" fmla="*/ 58 h 126"/>
                <a:gd name="T62" fmla="*/ 93 w 283"/>
                <a:gd name="T63" fmla="*/ 33 h 126"/>
                <a:gd name="T64" fmla="*/ 92 w 283"/>
                <a:gd name="T65" fmla="*/ 24 h 126"/>
                <a:gd name="T66" fmla="*/ 152 w 283"/>
                <a:gd name="T67" fmla="*/ 90 h 126"/>
                <a:gd name="T68" fmla="*/ 137 w 283"/>
                <a:gd name="T69" fmla="*/ 85 h 12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eaLnBrk="1" hangingPunct="1"/>
              <a:endParaRPr lang="en-GB" sz="18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0" name="Parallélogramme 14"/>
          <p:cNvSpPr>
            <a:spLocks noChangeAspect="1"/>
          </p:cNvSpPr>
          <p:nvPr/>
        </p:nvSpPr>
        <p:spPr>
          <a:xfrm>
            <a:off x="233364" y="-11906"/>
            <a:ext cx="695325" cy="564356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8" rIns="91397" bIns="45698" anchor="ctr"/>
          <a:lstStyle/>
          <a:p>
            <a:pPr algn="ctr" defTabSz="91397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solidFill>
                <a:prstClr val="white"/>
              </a:solidFill>
            </a:endParaRPr>
          </a:p>
        </p:txBody>
      </p:sp>
      <p:cxnSp>
        <p:nvCxnSpPr>
          <p:cNvPr id="11" name="Connecteur droit 15"/>
          <p:cNvCxnSpPr/>
          <p:nvPr/>
        </p:nvCxnSpPr>
        <p:spPr>
          <a:xfrm>
            <a:off x="727076" y="551260"/>
            <a:ext cx="7681913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67545" y="951571"/>
            <a:ext cx="8382000" cy="360045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533400" y="4902994"/>
            <a:ext cx="6553200" cy="228600"/>
          </a:xfrm>
        </p:spPr>
        <p:txBody>
          <a:bodyPr lIns="35984" rIns="35984" anchor="ctr"/>
          <a:lstStyle>
            <a:lvl1pPr defTabSz="914400">
              <a:defRPr dirty="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9388" y="4902994"/>
            <a:ext cx="354012" cy="228600"/>
          </a:xfrm>
        </p:spPr>
        <p:txBody>
          <a:bodyPr lIns="35984" rIns="35984" anchor="ctr"/>
          <a:lstStyle>
            <a:lvl1pPr defTabSz="914400">
              <a:defRPr lang="fr-FR" sz="1000" kern="1200">
                <a:solidFill>
                  <a:srgbClr val="103184"/>
                </a:solidFill>
                <a:latin typeface="Arial" charset="0"/>
                <a:ea typeface="ＭＳ Ｐゴシック" pitchFamily="-64" charset="-128"/>
                <a:cs typeface="+mn-cs"/>
              </a:defRPr>
            </a:lvl1pPr>
          </a:lstStyle>
          <a:p>
            <a:pPr>
              <a:defRPr/>
            </a:pPr>
            <a:fld id="{B700AC86-63E3-4754-894D-2D38A8D5307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68211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Connecteur droit 8"/>
          <p:cNvCxnSpPr/>
          <p:nvPr/>
        </p:nvCxnSpPr>
        <p:spPr>
          <a:xfrm>
            <a:off x="266701" y="4858941"/>
            <a:ext cx="798513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e 10"/>
          <p:cNvGrpSpPr>
            <a:grpSpLocks noChangeAspect="1"/>
          </p:cNvGrpSpPr>
          <p:nvPr/>
        </p:nvGrpSpPr>
        <p:grpSpPr bwMode="auto">
          <a:xfrm>
            <a:off x="8634414" y="4854179"/>
            <a:ext cx="263525" cy="196453"/>
            <a:chOff x="2654300" y="1511300"/>
            <a:chExt cx="3835401" cy="3835400"/>
          </a:xfrm>
        </p:grpSpPr>
        <p:sp>
          <p:nvSpPr>
            <p:cNvPr id="5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1281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fr-FR" altLang="en-US" sz="1800">
                <a:solidFill>
                  <a:srgbClr val="000000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4803041" y="1511300"/>
              <a:ext cx="1686660" cy="1906081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97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800" dirty="0">
                <a:solidFill>
                  <a:prstClr val="black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7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>
                <a:gd name="T0" fmla="*/ 283 w 283"/>
                <a:gd name="T1" fmla="*/ 126 h 126"/>
                <a:gd name="T2" fmla="*/ 250 w 283"/>
                <a:gd name="T3" fmla="*/ 115 h 126"/>
                <a:gd name="T4" fmla="*/ 186 w 283"/>
                <a:gd name="T5" fmla="*/ 72 h 126"/>
                <a:gd name="T6" fmla="*/ 188 w 283"/>
                <a:gd name="T7" fmla="*/ 115 h 126"/>
                <a:gd name="T8" fmla="*/ 163 w 283"/>
                <a:gd name="T9" fmla="*/ 126 h 126"/>
                <a:gd name="T10" fmla="*/ 159 w 283"/>
                <a:gd name="T11" fmla="*/ 110 h 126"/>
                <a:gd name="T12" fmla="*/ 147 w 283"/>
                <a:gd name="T13" fmla="*/ 126 h 126"/>
                <a:gd name="T14" fmla="*/ 122 w 283"/>
                <a:gd name="T15" fmla="*/ 120 h 126"/>
                <a:gd name="T16" fmla="*/ 110 w 283"/>
                <a:gd name="T17" fmla="*/ 121 h 126"/>
                <a:gd name="T18" fmla="*/ 84 w 283"/>
                <a:gd name="T19" fmla="*/ 126 h 126"/>
                <a:gd name="T20" fmla="*/ 111 w 283"/>
                <a:gd name="T21" fmla="*/ 93 h 126"/>
                <a:gd name="T22" fmla="*/ 55 w 283"/>
                <a:gd name="T23" fmla="*/ 72 h 126"/>
                <a:gd name="T24" fmla="*/ 15 w 283"/>
                <a:gd name="T25" fmla="*/ 126 h 126"/>
                <a:gd name="T26" fmla="*/ 0 w 283"/>
                <a:gd name="T27" fmla="*/ 117 h 126"/>
                <a:gd name="T28" fmla="*/ 42 w 283"/>
                <a:gd name="T29" fmla="*/ 63 h 126"/>
                <a:gd name="T30" fmla="*/ 87 w 283"/>
                <a:gd name="T31" fmla="*/ 0 h 126"/>
                <a:gd name="T32" fmla="*/ 114 w 283"/>
                <a:gd name="T33" fmla="*/ 12 h 126"/>
                <a:gd name="T34" fmla="*/ 140 w 283"/>
                <a:gd name="T35" fmla="*/ 56 h 126"/>
                <a:gd name="T36" fmla="*/ 120 w 283"/>
                <a:gd name="T37" fmla="*/ 0 h 126"/>
                <a:gd name="T38" fmla="*/ 152 w 283"/>
                <a:gd name="T39" fmla="*/ 8 h 126"/>
                <a:gd name="T40" fmla="*/ 182 w 283"/>
                <a:gd name="T41" fmla="*/ 7 h 126"/>
                <a:gd name="T42" fmla="*/ 210 w 283"/>
                <a:gd name="T43" fmla="*/ 0 h 126"/>
                <a:gd name="T44" fmla="*/ 167 w 283"/>
                <a:gd name="T45" fmla="*/ 51 h 126"/>
                <a:gd name="T46" fmla="*/ 171 w 283"/>
                <a:gd name="T47" fmla="*/ 65 h 126"/>
                <a:gd name="T48" fmla="*/ 213 w 283"/>
                <a:gd name="T49" fmla="*/ 9 h 126"/>
                <a:gd name="T50" fmla="*/ 243 w 283"/>
                <a:gd name="T51" fmla="*/ 0 h 126"/>
                <a:gd name="T52" fmla="*/ 260 w 283"/>
                <a:gd name="T53" fmla="*/ 63 h 126"/>
                <a:gd name="T54" fmla="*/ 197 w 283"/>
                <a:gd name="T55" fmla="*/ 58 h 126"/>
                <a:gd name="T56" fmla="*/ 224 w 283"/>
                <a:gd name="T57" fmla="*/ 33 h 126"/>
                <a:gd name="T58" fmla="*/ 222 w 283"/>
                <a:gd name="T59" fmla="*/ 24 h 126"/>
                <a:gd name="T60" fmla="*/ 67 w 283"/>
                <a:gd name="T61" fmla="*/ 58 h 126"/>
                <a:gd name="T62" fmla="*/ 93 w 283"/>
                <a:gd name="T63" fmla="*/ 33 h 126"/>
                <a:gd name="T64" fmla="*/ 92 w 283"/>
                <a:gd name="T65" fmla="*/ 24 h 126"/>
                <a:gd name="T66" fmla="*/ 152 w 283"/>
                <a:gd name="T67" fmla="*/ 90 h 126"/>
                <a:gd name="T68" fmla="*/ 137 w 283"/>
                <a:gd name="T69" fmla="*/ 85 h 12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eaLnBrk="1" hangingPunct="1"/>
              <a:endParaRPr lang="en-GB" sz="18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cxnSp>
        <p:nvCxnSpPr>
          <p:cNvPr id="9" name="Connecteur droit 15"/>
          <p:cNvCxnSpPr/>
          <p:nvPr/>
        </p:nvCxnSpPr>
        <p:spPr>
          <a:xfrm>
            <a:off x="727076" y="551260"/>
            <a:ext cx="7681913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xfrm>
            <a:off x="228600" y="4731544"/>
            <a:ext cx="2133600" cy="273844"/>
          </a:xfrm>
        </p:spPr>
        <p:txBody>
          <a:bodyPr/>
          <a:lstStyle>
            <a:lvl1pPr defTabSz="91440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FBE07F2B-3AE9-4754-9D24-6C4EFBB2DDC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00338" y="4750594"/>
            <a:ext cx="3167062" cy="273844"/>
          </a:xfrm>
        </p:spPr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57500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355600" y="1455017"/>
            <a:ext cx="8432800" cy="85725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3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2923505" y="2558648"/>
            <a:ext cx="3296993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361950" y="2758103"/>
            <a:ext cx="8439150" cy="32385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734417" y="-3433"/>
            <a:ext cx="1440160" cy="1171027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4658265"/>
            <a:ext cx="9144000" cy="4852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>
              <a:latin typeface="Century Gothic" pitchFamily="34" charset="0"/>
            </a:endParaRPr>
          </a:p>
        </p:txBody>
      </p:sp>
      <p:sp>
        <p:nvSpPr>
          <p:cNvPr id="15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5194" y="4878372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pPr algn="l"/>
            <a:r>
              <a:rPr lang="de-DE"/>
              <a:t>Confidential / Internal</a:t>
            </a:r>
            <a:endParaRPr lang="fr-FR" dirty="0"/>
          </a:p>
        </p:txBody>
      </p:sp>
      <p:pic>
        <p:nvPicPr>
          <p:cNvPr id="9" name="Picture 12" descr="stan_d_p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289" y="4769644"/>
            <a:ext cx="1546225" cy="232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485119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ommaire"/>
          <p:cNvSpPr>
            <a:spLocks noGrp="1"/>
          </p:cNvSpPr>
          <p:nvPr>
            <p:ph type="title" hasCustomPrompt="1"/>
          </p:nvPr>
        </p:nvSpPr>
        <p:spPr>
          <a:xfrm>
            <a:off x="234000" y="205978"/>
            <a:ext cx="8820000" cy="352822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defRPr sz="2400">
                <a:solidFill>
                  <a:srgbClr val="00008F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noProof="0" dirty="0"/>
              <a:t>Title 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33999" y="571705"/>
            <a:ext cx="8820000" cy="28554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800">
                <a:solidFill>
                  <a:srgbClr val="02718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/>
              <a:t>Subtitle or next title (optional)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2" hasCustomPrompt="1"/>
          </p:nvPr>
        </p:nvSpPr>
        <p:spPr>
          <a:xfrm>
            <a:off x="2012343" y="1372353"/>
            <a:ext cx="5760000" cy="2880000"/>
          </a:xfrm>
          <a:prstGeom prst="rect">
            <a:avLst/>
          </a:prstGeom>
        </p:spPr>
        <p:txBody>
          <a:bodyPr lIns="0" tIns="0" rIns="0" bIns="0"/>
          <a:lstStyle>
            <a:lvl1pPr marL="809625" indent="-809625">
              <a:buClr>
                <a:schemeClr val="tx2"/>
              </a:buClr>
              <a:buFont typeface="+mj-lt"/>
              <a:buAutoNum type="arabicPeriod"/>
              <a:defRPr sz="16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fr-FR" dirty="0"/>
          </a:p>
        </p:txBody>
      </p:sp>
      <p:pic>
        <p:nvPicPr>
          <p:cNvPr id="10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81546" y="4877227"/>
            <a:ext cx="176979" cy="17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500253" y="4906460"/>
            <a:ext cx="2215515" cy="175022"/>
          </a:xfrm>
        </p:spPr>
        <p:txBody>
          <a:bodyPr/>
          <a:lstStyle/>
          <a:p>
            <a:r>
              <a:rPr lang="en-US" noProof="0"/>
              <a:t>IT Deep Dive l September 2018</a:t>
            </a:r>
            <a:endParaRPr lang="en-US" noProof="0" dirty="0"/>
          </a:p>
        </p:txBody>
      </p:sp>
      <p:sp>
        <p:nvSpPr>
          <p:cNvPr id="14" name="Espace réservé du pied de page 3"/>
          <p:cNvSpPr>
            <a:spLocks noGrp="1"/>
          </p:cNvSpPr>
          <p:nvPr>
            <p:ph type="ftr" sz="quarter" idx="13"/>
          </p:nvPr>
        </p:nvSpPr>
        <p:spPr>
          <a:xfrm>
            <a:off x="3326957" y="4906460"/>
            <a:ext cx="2474912" cy="175022"/>
          </a:xfr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647213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971601" y="2019128"/>
            <a:ext cx="7200849" cy="85725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1233572" y="3556797"/>
            <a:ext cx="6146740" cy="685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46394457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 AL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279900" y="519522"/>
            <a:ext cx="4521200" cy="85725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24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5686426" y="1707654"/>
            <a:ext cx="3114675" cy="685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31580555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clai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2923505" y="2558648"/>
            <a:ext cx="3296993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361950" y="2758103"/>
            <a:ext cx="8439150" cy="32385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4658265"/>
            <a:ext cx="9144000" cy="4852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>
              <a:latin typeface="Century Gothic" pitchFamily="34" charset="0"/>
            </a:endParaRP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355601" y="1161125"/>
            <a:ext cx="8432799" cy="1145976"/>
          </a:xfrm>
        </p:spPr>
        <p:txBody>
          <a:bodyPr anchor="b" anchorCtr="0"/>
          <a:lstStyle>
            <a:lvl1pPr marL="0" indent="0" algn="ctr">
              <a:buFontTx/>
              <a:buNone/>
              <a:defRPr sz="4050"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375"/>
              </a:spcBef>
              <a:buFontTx/>
              <a:buNone/>
              <a:defRPr sz="2400" b="0">
                <a:solidFill>
                  <a:schemeClr val="tx2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Parallélogramme 12"/>
          <p:cNvSpPr>
            <a:spLocks noChangeAspect="1"/>
          </p:cNvSpPr>
          <p:nvPr userDrawn="1"/>
        </p:nvSpPr>
        <p:spPr>
          <a:xfrm>
            <a:off x="734417" y="-3433"/>
            <a:ext cx="1440160" cy="1171027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>
              <a:latin typeface="Century Gothic" pitchFamily="34" charset="0"/>
            </a:endParaRPr>
          </a:p>
        </p:txBody>
      </p:sp>
      <p:sp>
        <p:nvSpPr>
          <p:cNvPr id="19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78372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/>
              <a:t>Confidential / Internal</a:t>
            </a:r>
            <a:endParaRPr lang="fr-FR" dirty="0"/>
          </a:p>
        </p:txBody>
      </p:sp>
      <p:pic>
        <p:nvPicPr>
          <p:cNvPr id="21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4166" y="4858782"/>
            <a:ext cx="966226" cy="225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1734060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sombre">
    <p:bg>
      <p:bgPr>
        <a:solidFill>
          <a:srgbClr val="004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2923505" y="2558648"/>
            <a:ext cx="3296993" cy="0"/>
          </a:xfrm>
          <a:prstGeom prst="line">
            <a:avLst/>
          </a:prstGeom>
          <a:ln w="12700" cap="rnd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361950" y="2758103"/>
            <a:ext cx="8439150" cy="32385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4658265"/>
            <a:ext cx="9144000" cy="4852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>
              <a:latin typeface="Century Gothic" pitchFamily="34" charset="0"/>
            </a:endParaRPr>
          </a:p>
        </p:txBody>
      </p:sp>
      <p:sp>
        <p:nvSpPr>
          <p:cNvPr id="13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355601" y="1161125"/>
            <a:ext cx="8432799" cy="1145976"/>
          </a:xfrm>
        </p:spPr>
        <p:txBody>
          <a:bodyPr anchor="b" anchorCtr="0"/>
          <a:lstStyle>
            <a:lvl1pPr marL="0" indent="0" algn="ctr">
              <a:buFontTx/>
              <a:buNone/>
              <a:defRPr sz="4050" b="1">
                <a:solidFill>
                  <a:schemeClr val="bg1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375"/>
              </a:spcBef>
              <a:buFontTx/>
              <a:buNone/>
              <a:defRPr sz="2400" b="0">
                <a:solidFill>
                  <a:schemeClr val="bg1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Parallélogramme 18"/>
          <p:cNvSpPr>
            <a:spLocks noChangeAspect="1"/>
          </p:cNvSpPr>
          <p:nvPr userDrawn="1"/>
        </p:nvSpPr>
        <p:spPr>
          <a:xfrm>
            <a:off x="734417" y="-3433"/>
            <a:ext cx="1440160" cy="1171027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>
              <a:latin typeface="Century Gothic" pitchFamily="34" charset="0"/>
            </a:endParaRPr>
          </a:p>
        </p:txBody>
      </p:sp>
      <p:sp>
        <p:nvSpPr>
          <p:cNvPr id="21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78372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/>
              <a:t>Confidential / Internal</a:t>
            </a:r>
            <a:endParaRPr lang="fr-FR" dirty="0"/>
          </a:p>
        </p:txBody>
      </p:sp>
      <p:pic>
        <p:nvPicPr>
          <p:cNvPr id="22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8076" y="4752975"/>
            <a:ext cx="1341825" cy="312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121890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/>
          </p:nvPr>
        </p:nvSpPr>
        <p:spPr>
          <a:xfrm>
            <a:off x="2838451" y="828676"/>
            <a:ext cx="4223393" cy="3687290"/>
          </a:xfrm>
        </p:spPr>
        <p:txBody>
          <a:bodyPr anchor="ctr" anchorCtr="0"/>
          <a:lstStyle>
            <a:lvl1pPr marL="401241" indent="-401241">
              <a:spcBef>
                <a:spcPts val="1500"/>
              </a:spcBef>
              <a:buClr>
                <a:srgbClr val="004563"/>
              </a:buClr>
              <a:buFontTx/>
              <a:buNone/>
              <a:defRPr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900" b="0">
                <a:solidFill>
                  <a:srgbClr val="004563"/>
                </a:solidFill>
                <a:latin typeface="Century Gothic" pitchFamily="34" charset="0"/>
              </a:defRPr>
            </a:lvl2pPr>
            <a:lvl3pPr marL="135731" indent="-135731">
              <a:buClr>
                <a:srgbClr val="004563"/>
              </a:buClr>
              <a:defRPr sz="900" b="1">
                <a:latin typeface="Century Gothic" pitchFamily="34" charset="0"/>
              </a:defRPr>
            </a:lvl3pPr>
            <a:lvl4pPr marL="135731" indent="0">
              <a:defRPr sz="900">
                <a:latin typeface="Century Gothic" pitchFamily="34" charset="0"/>
              </a:defRPr>
            </a:lvl4pPr>
            <a:lvl5pPr marL="271463" indent="-135731">
              <a:defRPr sz="9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contenu 9"/>
          <p:cNvSpPr>
            <a:spLocks noGrp="1"/>
          </p:cNvSpPr>
          <p:nvPr>
            <p:ph sz="quarter" idx="15" hasCustomPrompt="1"/>
          </p:nvPr>
        </p:nvSpPr>
        <p:spPr>
          <a:xfrm>
            <a:off x="7061844" y="825154"/>
            <a:ext cx="571997" cy="3687290"/>
          </a:xfrm>
        </p:spPr>
        <p:txBody>
          <a:bodyPr anchor="ctr" anchorCtr="0"/>
          <a:lstStyle>
            <a:lvl1pPr marL="401241" indent="-401241" algn="r">
              <a:spcBef>
                <a:spcPts val="1500"/>
              </a:spcBef>
              <a:buClr>
                <a:srgbClr val="004563"/>
              </a:buClr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r">
              <a:spcBef>
                <a:spcPts val="0"/>
              </a:spcBef>
              <a:buFontTx/>
              <a:buNone/>
              <a:defRPr sz="900" b="0">
                <a:solidFill>
                  <a:schemeClr val="tx2"/>
                </a:solidFill>
                <a:latin typeface="Century Gothic" pitchFamily="34" charset="0"/>
              </a:defRPr>
            </a:lvl2pPr>
            <a:lvl3pPr marL="135731" indent="-135731" algn="r">
              <a:buClr>
                <a:schemeClr val="tx2"/>
              </a:buClr>
              <a:defRPr sz="900" b="1">
                <a:latin typeface="Century Gothic" pitchFamily="34" charset="0"/>
              </a:defRPr>
            </a:lvl3pPr>
            <a:lvl4pPr marL="135731" indent="0" algn="r">
              <a:defRPr sz="900">
                <a:latin typeface="Century Gothic" pitchFamily="34" charset="0"/>
              </a:defRPr>
            </a:lvl4pPr>
            <a:lvl5pPr marL="271463" indent="-135731" algn="r">
              <a:defRPr sz="9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#›</a:t>
            </a:fld>
            <a:r>
              <a:rPr lang="fr-FR" dirty="0"/>
              <a:t>   |  </a:t>
            </a:r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Title, Owner, Date</a:t>
            </a:r>
            <a:endParaRPr lang="fr-FR" dirty="0"/>
          </a:p>
        </p:txBody>
      </p:sp>
      <p:sp>
        <p:nvSpPr>
          <p:cNvPr id="12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81563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/>
              <a:t>Confidential / Interna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93211556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738189" y="1177528"/>
            <a:ext cx="7670799" cy="3352801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#›</a:t>
            </a:fld>
            <a:r>
              <a:rPr lang="fr-FR" dirty="0"/>
              <a:t>   |  </a:t>
            </a:r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/>
              <a:t>Title, Owner, Date</a:t>
            </a:r>
            <a:endParaRPr lang="fr-FR" dirty="0"/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76" y="614552"/>
            <a:ext cx="7670799" cy="28634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81563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/>
              <a:t>Confidential / Interna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53134337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#›</a:t>
            </a:fld>
            <a:r>
              <a:rPr lang="fr-FR" dirty="0"/>
              <a:t>   |  </a:t>
            </a:r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/>
              <a:t>Title, Owner, Date</a:t>
            </a:r>
            <a:endParaRPr lang="fr-FR" dirty="0"/>
          </a:p>
        </p:txBody>
      </p:sp>
      <p:sp>
        <p:nvSpPr>
          <p:cNvPr id="7" name="Espace réservé du tableau 6"/>
          <p:cNvSpPr>
            <a:spLocks noGrp="1"/>
          </p:cNvSpPr>
          <p:nvPr>
            <p:ph type="tbl" sz="quarter" idx="13"/>
          </p:nvPr>
        </p:nvSpPr>
        <p:spPr>
          <a:xfrm>
            <a:off x="736600" y="1668066"/>
            <a:ext cx="7672388" cy="2862263"/>
          </a:xfrm>
        </p:spPr>
        <p:txBody>
          <a:bodyPr>
            <a:normAutofit/>
          </a:bodyPr>
          <a:lstStyle>
            <a:lvl1pPr>
              <a:buFontTx/>
              <a:buNone/>
              <a:defRPr sz="1050"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727076" y="614552"/>
            <a:ext cx="7670799" cy="28634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81563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/>
              <a:t>Confidential / Internal</a:t>
            </a:r>
            <a:endParaRPr lang="fr-FR" dirty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729562" y="1132243"/>
            <a:ext cx="3628126" cy="44533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240192932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#›</a:t>
            </a:fld>
            <a:r>
              <a:rPr lang="fr-FR" dirty="0"/>
              <a:t>   |  </a:t>
            </a:r>
          </a:p>
        </p:txBody>
      </p:sp>
      <p:sp>
        <p:nvSpPr>
          <p:cNvPr id="22" name="Espace réservé du pied de page 2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le, Owner, Date</a:t>
            </a:r>
            <a:endParaRPr lang="fr-FR" dirty="0"/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600075" y="1665320"/>
            <a:ext cx="3757613" cy="266581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4663765" y="1665320"/>
            <a:ext cx="3757613" cy="266581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729562" y="1132243"/>
            <a:ext cx="3628126" cy="44533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63256" y="1132243"/>
            <a:ext cx="3546985" cy="44533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727076" y="614552"/>
            <a:ext cx="7670799" cy="28634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81563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/>
              <a:t>Confidential / Interna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86733884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#›</a:t>
            </a:fld>
            <a:r>
              <a:rPr lang="fr-FR" dirty="0"/>
              <a:t>   |  </a:t>
            </a:r>
          </a:p>
        </p:txBody>
      </p:sp>
      <p:sp>
        <p:nvSpPr>
          <p:cNvPr id="22" name="Espace réservé du pied de page 2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le, Owner, Date</a:t>
            </a:r>
            <a:endParaRPr lang="fr-FR" dirty="0"/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600075" y="1662215"/>
            <a:ext cx="3757613" cy="108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4663765" y="1662215"/>
            <a:ext cx="3757613" cy="108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729562" y="1132243"/>
            <a:ext cx="3628126" cy="44533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 hasCustomPrompt="1"/>
          </p:nvPr>
        </p:nvSpPr>
        <p:spPr>
          <a:xfrm>
            <a:off x="4763256" y="1132243"/>
            <a:ext cx="3546985" cy="44533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727076" y="614552"/>
            <a:ext cx="7670799" cy="28634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81563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/>
              <a:t>Confidential / Internal</a:t>
            </a:r>
            <a:endParaRPr lang="fr-FR" dirty="0"/>
          </a:p>
        </p:txBody>
      </p:sp>
      <p:sp>
        <p:nvSpPr>
          <p:cNvPr id="14" name="Espace réservé du graphique 8"/>
          <p:cNvSpPr>
            <a:spLocks noGrp="1"/>
          </p:cNvSpPr>
          <p:nvPr>
            <p:ph type="chart" sz="quarter" idx="17"/>
          </p:nvPr>
        </p:nvSpPr>
        <p:spPr>
          <a:xfrm>
            <a:off x="593450" y="3441917"/>
            <a:ext cx="3757613" cy="108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5" name="Espace réservé du graphique 8"/>
          <p:cNvSpPr>
            <a:spLocks noGrp="1"/>
          </p:cNvSpPr>
          <p:nvPr>
            <p:ph type="chart" sz="quarter" idx="18"/>
          </p:nvPr>
        </p:nvSpPr>
        <p:spPr>
          <a:xfrm>
            <a:off x="4657141" y="3441917"/>
            <a:ext cx="3757613" cy="108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6" name="Espace réservé du texte 5"/>
          <p:cNvSpPr>
            <a:spLocks noGrp="1"/>
          </p:cNvSpPr>
          <p:nvPr>
            <p:ph type="body" sz="quarter" idx="19" hasCustomPrompt="1"/>
          </p:nvPr>
        </p:nvSpPr>
        <p:spPr>
          <a:xfrm>
            <a:off x="722938" y="2926854"/>
            <a:ext cx="3628126" cy="44533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20" hasCustomPrompt="1"/>
          </p:nvPr>
        </p:nvSpPr>
        <p:spPr>
          <a:xfrm>
            <a:off x="4756633" y="2926854"/>
            <a:ext cx="3546985" cy="44533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90168125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EMB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4817935" y="1177529"/>
            <a:ext cx="3591053" cy="3352800"/>
          </a:xfrm>
          <a:prstGeom prst="rect">
            <a:avLst/>
          </a:prstGeom>
        </p:spPr>
        <p:txBody>
          <a:bodyPr vert="horz" anchor="ctr" anchorCtr="0"/>
          <a:lstStyle>
            <a:lvl1pPr marL="214313" indent="-214313">
              <a:spcBef>
                <a:spcPts val="1125"/>
              </a:spcBef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spcBef>
                <a:spcPts val="1125"/>
              </a:spcBef>
              <a:buClr>
                <a:schemeClr val="accent2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spcBef>
                <a:spcPts val="1125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2" name="Titr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9" name="Espace réservé du numéro de diapositive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#›</a:t>
            </a:fld>
            <a:r>
              <a:rPr lang="fr-FR" dirty="0"/>
              <a:t>   |  </a:t>
            </a:r>
          </a:p>
        </p:txBody>
      </p:sp>
      <p:sp>
        <p:nvSpPr>
          <p:cNvPr id="20" name="Espace réservé du pied de page 1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/>
              <a:t>Title, Owner, Date</a:t>
            </a:r>
            <a:endParaRPr lang="fr-FR" dirty="0"/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1108075" y="2187903"/>
            <a:ext cx="2732088" cy="182999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729562" y="1132243"/>
            <a:ext cx="3628126" cy="44533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727076" y="614552"/>
            <a:ext cx="7670799" cy="28634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81563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/>
              <a:t>Confidential / Interna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7370246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ommaire"/>
          <p:cNvSpPr>
            <a:spLocks noGrp="1"/>
          </p:cNvSpPr>
          <p:nvPr>
            <p:ph type="title" hasCustomPrompt="1"/>
          </p:nvPr>
        </p:nvSpPr>
        <p:spPr>
          <a:xfrm>
            <a:off x="233999" y="205978"/>
            <a:ext cx="8820000" cy="352822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defRPr sz="2400">
                <a:solidFill>
                  <a:srgbClr val="00008F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noProof="0" dirty="0"/>
              <a:t>Title 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34001" y="571705"/>
            <a:ext cx="8820000" cy="28554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800">
                <a:solidFill>
                  <a:srgbClr val="027180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Subtitle or next title (optional)</a:t>
            </a:r>
          </a:p>
        </p:txBody>
      </p:sp>
      <p:pic>
        <p:nvPicPr>
          <p:cNvPr id="13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81546" y="4877227"/>
            <a:ext cx="176979" cy="17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Espace réservé du texte 11"/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1126211"/>
            <a:ext cx="8824524" cy="3658695"/>
          </a:xfrm>
          <a:prstGeom prst="rect">
            <a:avLst/>
          </a:prstGeom>
        </p:spPr>
        <p:txBody>
          <a:bodyPr vert="horz" lIns="0" tIns="0" rIns="0" bIns="0"/>
          <a:lstStyle>
            <a:lvl1pPr marL="315916" indent="-315916">
              <a:buSzPct val="120000"/>
              <a:buFontTx/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Arial"/>
              </a:defRPr>
            </a:lvl1pPr>
            <a:lvl2pPr marL="631831" indent="-213708">
              <a:buClr>
                <a:srgbClr val="00727A"/>
              </a:buClr>
              <a:buSzPct val="100000"/>
              <a:buFont typeface="Wingdings" pitchFamily="2" charset="2"/>
              <a:buChar char="à"/>
              <a:defRPr sz="1400" baseline="0">
                <a:solidFill>
                  <a:schemeClr val="tx1"/>
                </a:solidFill>
                <a:latin typeface="+mn-lt"/>
                <a:cs typeface="Arial"/>
              </a:defRPr>
            </a:lvl2pPr>
            <a:lvl3pPr marL="947747" indent="-213708">
              <a:buClr>
                <a:srgbClr val="004563"/>
              </a:buClr>
              <a:buSzPct val="100000"/>
              <a:buFont typeface="Source Sans Pro" pitchFamily="34" charset="0"/>
              <a:buChar char="–"/>
              <a:defRPr sz="1300" i="1">
                <a:solidFill>
                  <a:schemeClr val="tx1"/>
                </a:solidFill>
                <a:latin typeface="+mn-lt"/>
                <a:cs typeface="Arial"/>
              </a:defRPr>
            </a:lvl3pPr>
            <a:lvl4pPr marL="1152163" indent="-204416">
              <a:buFont typeface="Arial" pitchFamily="34" charset="0"/>
              <a:buChar char="•"/>
              <a:defRPr sz="900">
                <a:solidFill>
                  <a:schemeClr val="tx1"/>
                </a:solidFill>
                <a:latin typeface="+mn-lt"/>
              </a:defRPr>
            </a:lvl4pPr>
            <a:lvl5pPr marL="1365871" indent="-213708">
              <a:buFont typeface="Open Sans" pitchFamily="34" charset="0"/>
              <a:buChar char="&gt;"/>
              <a:defRPr sz="7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Espace réservé de la date 2"/>
          <p:cNvSpPr>
            <a:spLocks noGrp="1"/>
          </p:cNvSpPr>
          <p:nvPr>
            <p:ph type="dt" sz="half" idx="12"/>
          </p:nvPr>
        </p:nvSpPr>
        <p:spPr>
          <a:xfrm>
            <a:off x="500253" y="4906460"/>
            <a:ext cx="2215515" cy="175022"/>
          </a:xfrm>
        </p:spPr>
        <p:txBody>
          <a:bodyPr/>
          <a:lstStyle/>
          <a:p>
            <a:r>
              <a:rPr lang="en-US" noProof="0"/>
              <a:t>IT Deep Dive l September 2018</a:t>
            </a:r>
            <a:endParaRPr lang="en-US" noProof="0" dirty="0"/>
          </a:p>
        </p:txBody>
      </p:sp>
      <p:sp>
        <p:nvSpPr>
          <p:cNvPr id="17" name="Espace réservé du pied de page 3"/>
          <p:cNvSpPr>
            <a:spLocks noGrp="1"/>
          </p:cNvSpPr>
          <p:nvPr>
            <p:ph type="ftr" sz="quarter" idx="13"/>
          </p:nvPr>
        </p:nvSpPr>
        <p:spPr>
          <a:xfrm>
            <a:off x="3326957" y="4906460"/>
            <a:ext cx="2474912" cy="175022"/>
          </a:xfrm>
        </p:spPr>
        <p:txBody>
          <a:bodyPr/>
          <a:lstStyle/>
          <a:p>
            <a:endParaRPr lang="en-US" noProof="0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3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738188" y="1177528"/>
            <a:ext cx="2340000" cy="1213247"/>
          </a:xfrm>
          <a:prstGeom prst="rect">
            <a:avLst/>
          </a:prstGeom>
          <a:ln w="12700">
            <a:solidFill>
              <a:schemeClr val="tx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tx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2"/>
          <p:cNvSpPr>
            <a:spLocks noGrp="1"/>
          </p:cNvSpPr>
          <p:nvPr>
            <p:ph type="body" sz="quarter" idx="11"/>
          </p:nvPr>
        </p:nvSpPr>
        <p:spPr>
          <a:xfrm>
            <a:off x="3397210" y="1177528"/>
            <a:ext cx="2340000" cy="1213247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12"/>
          </p:nvPr>
        </p:nvSpPr>
        <p:spPr>
          <a:xfrm>
            <a:off x="6068988" y="1177528"/>
            <a:ext cx="2340000" cy="1213247"/>
          </a:xfrm>
          <a:prstGeom prst="rect">
            <a:avLst/>
          </a:prstGeom>
          <a:ln w="12700">
            <a:solidFill>
              <a:schemeClr val="accent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accent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732120" y="2628901"/>
            <a:ext cx="2340000" cy="1901429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2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18"/>
          <p:cNvSpPr>
            <a:spLocks noGrp="1"/>
          </p:cNvSpPr>
          <p:nvPr>
            <p:ph type="body" sz="quarter" idx="14"/>
          </p:nvPr>
        </p:nvSpPr>
        <p:spPr>
          <a:xfrm>
            <a:off x="3410965" y="2628901"/>
            <a:ext cx="2340000" cy="1901429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4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18"/>
          <p:cNvSpPr>
            <a:spLocks noGrp="1"/>
          </p:cNvSpPr>
          <p:nvPr>
            <p:ph type="body" sz="quarter" idx="15"/>
          </p:nvPr>
        </p:nvSpPr>
        <p:spPr>
          <a:xfrm>
            <a:off x="6067865" y="2628901"/>
            <a:ext cx="2340000" cy="1901429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5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9" name="Espace réservé du numéro de diapositive 2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#›</a:t>
            </a:fld>
            <a:r>
              <a:rPr lang="fr-FR" dirty="0"/>
              <a:t>   |  </a:t>
            </a:r>
          </a:p>
        </p:txBody>
      </p:sp>
      <p:sp>
        <p:nvSpPr>
          <p:cNvPr id="30" name="Espace réservé du pied de page 29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Title, Owner, Date</a:t>
            </a:r>
            <a:endParaRPr lang="fr-FR" dirty="0"/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727076" y="614552"/>
            <a:ext cx="7670799" cy="28634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81563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/>
              <a:t>Confidential / Interna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1225306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1 BL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5857336" y="1177529"/>
            <a:ext cx="2551652" cy="335280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288000" tIns="252000" rIns="288000" bIns="252000" anchor="ctr" anchorCtr="1">
            <a:normAutofit/>
          </a:bodyPr>
          <a:lstStyle>
            <a:lvl1pPr marL="0" indent="0" algn="ctr">
              <a:buNone/>
              <a:defRPr sz="1050" b="1" i="0" cap="all" normalizeH="0" baseline="0">
                <a:ln>
                  <a:noFill/>
                </a:ln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737727" y="1177529"/>
            <a:ext cx="4283537" cy="3352800"/>
          </a:xfrm>
          <a:prstGeom prst="rect">
            <a:avLst/>
          </a:prstGeom>
        </p:spPr>
        <p:txBody>
          <a:bodyPr vert="horz" anchor="ctr" anchorCtr="0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200000"/>
              <a:buFontTx/>
              <a:buBlip>
                <a:blip r:embed="rId3"/>
              </a:buBlip>
              <a:defRPr sz="1200" baseline="0">
                <a:solidFill>
                  <a:schemeClr val="tx1"/>
                </a:solidFill>
                <a:latin typeface="Arial"/>
                <a:cs typeface="Arial"/>
              </a:defRPr>
            </a:lvl2pPr>
            <a:lvl3pPr marL="857250" indent="-171450">
              <a:buSzPct val="100000"/>
              <a:buFont typeface="Lucida Grande"/>
              <a:buChar char="&gt;"/>
              <a:defRPr sz="1050" i="1">
                <a:solidFill>
                  <a:schemeClr val="tx1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1" name="Espace réservé du numéro de diapositive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#›</a:t>
            </a:fld>
            <a:r>
              <a:rPr lang="fr-FR" dirty="0"/>
              <a:t>   |  </a:t>
            </a:r>
          </a:p>
        </p:txBody>
      </p:sp>
      <p:sp>
        <p:nvSpPr>
          <p:cNvPr id="32" name="Espace réservé du pied de page 3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/>
              <a:t>Title, Owner, Date</a:t>
            </a:r>
            <a:endParaRPr lang="fr-FR" dirty="0"/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727076" y="614552"/>
            <a:ext cx="7670799" cy="28634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81563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/>
              <a:t>Confidential / Interna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9816142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#›</a:t>
            </a:fld>
            <a:r>
              <a:rPr lang="fr-FR" dirty="0"/>
              <a:t>   |  </a:t>
            </a:r>
          </a:p>
        </p:txBody>
      </p:sp>
      <p:sp>
        <p:nvSpPr>
          <p:cNvPr id="16" name="Espace réservé du pied de page 1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le, Owner, Date</a:t>
            </a:r>
            <a:endParaRPr lang="fr-FR" dirty="0"/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76" y="614552"/>
            <a:ext cx="7670799" cy="28634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81563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/>
              <a:t>Confidential / Interna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70652634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355601" y="1455017"/>
            <a:ext cx="8432800" cy="85725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3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2923505" y="2558648"/>
            <a:ext cx="3296993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361950" y="2758103"/>
            <a:ext cx="8439150" cy="32385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734418" y="-3433"/>
            <a:ext cx="1440160" cy="1171027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4658265"/>
            <a:ext cx="9144000" cy="4852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5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5194" y="4878373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pPr algn="l"/>
            <a:r>
              <a:rPr lang="en-US">
                <a:solidFill>
                  <a:srgbClr val="E40A38"/>
                </a:solidFill>
              </a:rPr>
              <a:t>CONFIDENTIAL</a:t>
            </a:r>
            <a:endParaRPr lang="fr-FR" dirty="0">
              <a:solidFill>
                <a:srgbClr val="E40A38"/>
              </a:solidFill>
            </a:endParaRPr>
          </a:p>
        </p:txBody>
      </p:sp>
      <p:pic>
        <p:nvPicPr>
          <p:cNvPr id="2" name="Image 1" descr="AXA_logo_UK_Q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9900" y="4752975"/>
            <a:ext cx="1980000" cy="300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41072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971600" y="2019128"/>
            <a:ext cx="7200849" cy="85725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1233573" y="3556797"/>
            <a:ext cx="6146740" cy="685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9922831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 AL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279900" y="519522"/>
            <a:ext cx="4521200" cy="85725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24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5686426" y="1707654"/>
            <a:ext cx="3114675" cy="685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7321855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clai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2923505" y="2558648"/>
            <a:ext cx="3296993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361950" y="2758103"/>
            <a:ext cx="8439150" cy="32385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4658265"/>
            <a:ext cx="9144000" cy="4852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grpSp>
        <p:nvGrpSpPr>
          <p:cNvPr id="2" name="Groupe 12"/>
          <p:cNvGrpSpPr>
            <a:grpSpLocks noChangeAspect="1"/>
          </p:cNvGrpSpPr>
          <p:nvPr userDrawn="1"/>
        </p:nvGrpSpPr>
        <p:grpSpPr>
          <a:xfrm>
            <a:off x="8497175" y="4756553"/>
            <a:ext cx="396000" cy="297000"/>
            <a:chOff x="2654300" y="1511300"/>
            <a:chExt cx="3835401" cy="3835400"/>
          </a:xfrm>
        </p:grpSpPr>
        <p:sp>
          <p:nvSpPr>
            <p:cNvPr id="15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350" dirty="0">
                <a:solidFill>
                  <a:prstClr val="black"/>
                </a:solidFill>
                <a:latin typeface="Century Gothic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4808538" y="1511300"/>
              <a:ext cx="1681163" cy="1895475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350" dirty="0">
                <a:solidFill>
                  <a:prstClr val="black"/>
                </a:solidFill>
                <a:latin typeface="Century Gothic" pitchFamily="34" charset="0"/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/>
              <a:ahLst/>
              <a:cxnLst>
                <a:cxn ang="0">
                  <a:pos x="283" y="126"/>
                </a:cxn>
                <a:cxn ang="0">
                  <a:pos x="250" y="115"/>
                </a:cxn>
                <a:cxn ang="0">
                  <a:pos x="186" y="72"/>
                </a:cxn>
                <a:cxn ang="0">
                  <a:pos x="188" y="115"/>
                </a:cxn>
                <a:cxn ang="0">
                  <a:pos x="163" y="126"/>
                </a:cxn>
                <a:cxn ang="0">
                  <a:pos x="159" y="110"/>
                </a:cxn>
                <a:cxn ang="0">
                  <a:pos x="147" y="126"/>
                </a:cxn>
                <a:cxn ang="0">
                  <a:pos x="122" y="120"/>
                </a:cxn>
                <a:cxn ang="0">
                  <a:pos x="110" y="121"/>
                </a:cxn>
                <a:cxn ang="0">
                  <a:pos x="84" y="126"/>
                </a:cxn>
                <a:cxn ang="0">
                  <a:pos x="111" y="93"/>
                </a:cxn>
                <a:cxn ang="0">
                  <a:pos x="55" y="72"/>
                </a:cxn>
                <a:cxn ang="0">
                  <a:pos x="15" y="126"/>
                </a:cxn>
                <a:cxn ang="0">
                  <a:pos x="0" y="117"/>
                </a:cxn>
                <a:cxn ang="0">
                  <a:pos x="42" y="63"/>
                </a:cxn>
                <a:cxn ang="0">
                  <a:pos x="87" y="0"/>
                </a:cxn>
                <a:cxn ang="0">
                  <a:pos x="114" y="12"/>
                </a:cxn>
                <a:cxn ang="0">
                  <a:pos x="140" y="56"/>
                </a:cxn>
                <a:cxn ang="0">
                  <a:pos x="120" y="0"/>
                </a:cxn>
                <a:cxn ang="0">
                  <a:pos x="152" y="8"/>
                </a:cxn>
                <a:cxn ang="0">
                  <a:pos x="182" y="7"/>
                </a:cxn>
                <a:cxn ang="0">
                  <a:pos x="210" y="0"/>
                </a:cxn>
                <a:cxn ang="0">
                  <a:pos x="167" y="51"/>
                </a:cxn>
                <a:cxn ang="0">
                  <a:pos x="171" y="65"/>
                </a:cxn>
                <a:cxn ang="0">
                  <a:pos x="213" y="9"/>
                </a:cxn>
                <a:cxn ang="0">
                  <a:pos x="243" y="0"/>
                </a:cxn>
                <a:cxn ang="0">
                  <a:pos x="260" y="63"/>
                </a:cxn>
                <a:cxn ang="0">
                  <a:pos x="197" y="58"/>
                </a:cxn>
                <a:cxn ang="0">
                  <a:pos x="224" y="33"/>
                </a:cxn>
                <a:cxn ang="0">
                  <a:pos x="222" y="24"/>
                </a:cxn>
                <a:cxn ang="0">
                  <a:pos x="67" y="58"/>
                </a:cxn>
                <a:cxn ang="0">
                  <a:pos x="93" y="33"/>
                </a:cxn>
                <a:cxn ang="0">
                  <a:pos x="92" y="24"/>
                </a:cxn>
                <a:cxn ang="0">
                  <a:pos x="152" y="90"/>
                </a:cxn>
                <a:cxn ang="0">
                  <a:pos x="137" y="85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350" dirty="0">
                <a:solidFill>
                  <a:prstClr val="black"/>
                </a:solidFill>
                <a:latin typeface="Century Gothic" pitchFamily="34" charset="0"/>
              </a:endParaRPr>
            </a:p>
          </p:txBody>
        </p:sp>
      </p:grpSp>
      <p:sp>
        <p:nvSpPr>
          <p:cNvPr id="20" name="Espace réservé du texte 19"/>
          <p:cNvSpPr>
            <a:spLocks noGrp="1"/>
          </p:cNvSpPr>
          <p:nvPr>
            <p:ph type="body" sz="quarter" idx="11" hasCustomPrompt="1"/>
          </p:nvPr>
        </p:nvSpPr>
        <p:spPr>
          <a:xfrm>
            <a:off x="5432612" y="4836809"/>
            <a:ext cx="2834637" cy="29884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FontTx/>
              <a:buNone/>
              <a:defRPr sz="825" b="1">
                <a:solidFill>
                  <a:srgbClr val="004893"/>
                </a:solidFill>
                <a:latin typeface="Arial" pitchFamily="34" charset="0"/>
                <a:cs typeface="Arial" pitchFamily="34" charset="0"/>
              </a:defRPr>
            </a:lvl1pPr>
            <a:lvl2pPr marL="0" indent="0" algn="r">
              <a:buFontTx/>
              <a:buNone/>
              <a:defRPr sz="900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2pPr>
            <a:lvl3pPr marL="0" indent="0" algn="r">
              <a:buFontTx/>
              <a:buNone/>
              <a:defRPr sz="750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3pPr>
            <a:lvl4pPr marL="0" indent="0" algn="r">
              <a:buFontTx/>
              <a:buNone/>
              <a:defRPr sz="600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4pPr>
            <a:lvl5pPr marL="0" indent="0" algn="r">
              <a:buFontTx/>
              <a:buNone/>
              <a:defRPr sz="600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Cliquez pour modifier le texte du masque</a:t>
            </a: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355601" y="1161125"/>
            <a:ext cx="8432799" cy="1145976"/>
          </a:xfrm>
        </p:spPr>
        <p:txBody>
          <a:bodyPr anchor="b" anchorCtr="0"/>
          <a:lstStyle>
            <a:lvl1pPr marL="0" indent="0" algn="ctr">
              <a:buFontTx/>
              <a:buNone/>
              <a:defRPr sz="4050"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375"/>
              </a:spcBef>
              <a:buFontTx/>
              <a:buNone/>
              <a:defRPr sz="2400" b="0">
                <a:solidFill>
                  <a:schemeClr val="tx2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Parallélogramme 12"/>
          <p:cNvSpPr>
            <a:spLocks noChangeAspect="1"/>
          </p:cNvSpPr>
          <p:nvPr userDrawn="1"/>
        </p:nvSpPr>
        <p:spPr>
          <a:xfrm>
            <a:off x="734418" y="-3433"/>
            <a:ext cx="1440160" cy="1171027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9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78373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>
                <a:solidFill>
                  <a:srgbClr val="E40A38"/>
                </a:solidFill>
              </a:rPr>
              <a:t>CONFIDENTIAL</a:t>
            </a:r>
            <a:endParaRPr lang="fr-FR" dirty="0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37564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sombre">
    <p:bg>
      <p:bgPr>
        <a:solidFill>
          <a:srgbClr val="004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2923505" y="2558648"/>
            <a:ext cx="3296993" cy="0"/>
          </a:xfrm>
          <a:prstGeom prst="line">
            <a:avLst/>
          </a:prstGeom>
          <a:ln w="12700" cap="rnd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361950" y="2758103"/>
            <a:ext cx="8439150" cy="32385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4658265"/>
            <a:ext cx="9144000" cy="4852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grpSp>
        <p:nvGrpSpPr>
          <p:cNvPr id="2" name="Groupe 12"/>
          <p:cNvGrpSpPr>
            <a:grpSpLocks noChangeAspect="1"/>
          </p:cNvGrpSpPr>
          <p:nvPr userDrawn="1"/>
        </p:nvGrpSpPr>
        <p:grpSpPr>
          <a:xfrm>
            <a:off x="8497175" y="4756553"/>
            <a:ext cx="396000" cy="297000"/>
            <a:chOff x="2654300" y="1511300"/>
            <a:chExt cx="3835401" cy="3835400"/>
          </a:xfrm>
        </p:grpSpPr>
        <p:sp>
          <p:nvSpPr>
            <p:cNvPr id="15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350" dirty="0">
                <a:solidFill>
                  <a:prstClr val="black"/>
                </a:solidFill>
                <a:latin typeface="Century Gothic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4808538" y="1511300"/>
              <a:ext cx="1681163" cy="1895475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350" dirty="0">
                <a:solidFill>
                  <a:prstClr val="black"/>
                </a:solidFill>
                <a:latin typeface="Century Gothic" pitchFamily="34" charset="0"/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/>
              <a:ahLst/>
              <a:cxnLst>
                <a:cxn ang="0">
                  <a:pos x="283" y="126"/>
                </a:cxn>
                <a:cxn ang="0">
                  <a:pos x="250" y="115"/>
                </a:cxn>
                <a:cxn ang="0">
                  <a:pos x="186" y="72"/>
                </a:cxn>
                <a:cxn ang="0">
                  <a:pos x="188" y="115"/>
                </a:cxn>
                <a:cxn ang="0">
                  <a:pos x="163" y="126"/>
                </a:cxn>
                <a:cxn ang="0">
                  <a:pos x="159" y="110"/>
                </a:cxn>
                <a:cxn ang="0">
                  <a:pos x="147" y="126"/>
                </a:cxn>
                <a:cxn ang="0">
                  <a:pos x="122" y="120"/>
                </a:cxn>
                <a:cxn ang="0">
                  <a:pos x="110" y="121"/>
                </a:cxn>
                <a:cxn ang="0">
                  <a:pos x="84" y="126"/>
                </a:cxn>
                <a:cxn ang="0">
                  <a:pos x="111" y="93"/>
                </a:cxn>
                <a:cxn ang="0">
                  <a:pos x="55" y="72"/>
                </a:cxn>
                <a:cxn ang="0">
                  <a:pos x="15" y="126"/>
                </a:cxn>
                <a:cxn ang="0">
                  <a:pos x="0" y="117"/>
                </a:cxn>
                <a:cxn ang="0">
                  <a:pos x="42" y="63"/>
                </a:cxn>
                <a:cxn ang="0">
                  <a:pos x="87" y="0"/>
                </a:cxn>
                <a:cxn ang="0">
                  <a:pos x="114" y="12"/>
                </a:cxn>
                <a:cxn ang="0">
                  <a:pos x="140" y="56"/>
                </a:cxn>
                <a:cxn ang="0">
                  <a:pos x="120" y="0"/>
                </a:cxn>
                <a:cxn ang="0">
                  <a:pos x="152" y="8"/>
                </a:cxn>
                <a:cxn ang="0">
                  <a:pos x="182" y="7"/>
                </a:cxn>
                <a:cxn ang="0">
                  <a:pos x="210" y="0"/>
                </a:cxn>
                <a:cxn ang="0">
                  <a:pos x="167" y="51"/>
                </a:cxn>
                <a:cxn ang="0">
                  <a:pos x="171" y="65"/>
                </a:cxn>
                <a:cxn ang="0">
                  <a:pos x="213" y="9"/>
                </a:cxn>
                <a:cxn ang="0">
                  <a:pos x="243" y="0"/>
                </a:cxn>
                <a:cxn ang="0">
                  <a:pos x="260" y="63"/>
                </a:cxn>
                <a:cxn ang="0">
                  <a:pos x="197" y="58"/>
                </a:cxn>
                <a:cxn ang="0">
                  <a:pos x="224" y="33"/>
                </a:cxn>
                <a:cxn ang="0">
                  <a:pos x="222" y="24"/>
                </a:cxn>
                <a:cxn ang="0">
                  <a:pos x="67" y="58"/>
                </a:cxn>
                <a:cxn ang="0">
                  <a:pos x="93" y="33"/>
                </a:cxn>
                <a:cxn ang="0">
                  <a:pos x="92" y="24"/>
                </a:cxn>
                <a:cxn ang="0">
                  <a:pos x="152" y="90"/>
                </a:cxn>
                <a:cxn ang="0">
                  <a:pos x="137" y="85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350" dirty="0">
                <a:solidFill>
                  <a:prstClr val="black"/>
                </a:solidFill>
                <a:latin typeface="Century Gothic" pitchFamily="34" charset="0"/>
              </a:endParaRPr>
            </a:p>
          </p:txBody>
        </p:sp>
      </p:grpSp>
      <p:sp>
        <p:nvSpPr>
          <p:cNvPr id="13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355601" y="1161125"/>
            <a:ext cx="8432799" cy="1145976"/>
          </a:xfrm>
        </p:spPr>
        <p:txBody>
          <a:bodyPr anchor="b" anchorCtr="0"/>
          <a:lstStyle>
            <a:lvl1pPr marL="0" indent="0" algn="ctr">
              <a:buFontTx/>
              <a:buNone/>
              <a:defRPr sz="4050" b="1">
                <a:solidFill>
                  <a:schemeClr val="bg1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375"/>
              </a:spcBef>
              <a:buFontTx/>
              <a:buNone/>
              <a:defRPr sz="2400" b="0">
                <a:solidFill>
                  <a:schemeClr val="bg1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Parallélogramme 18"/>
          <p:cNvSpPr>
            <a:spLocks noChangeAspect="1"/>
          </p:cNvSpPr>
          <p:nvPr userDrawn="1"/>
        </p:nvSpPr>
        <p:spPr>
          <a:xfrm>
            <a:off x="734418" y="-3433"/>
            <a:ext cx="1440160" cy="1171027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21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78373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>
                <a:solidFill>
                  <a:srgbClr val="E40A38"/>
                </a:solidFill>
              </a:rPr>
              <a:t>CONFIDENTIAL</a:t>
            </a:r>
            <a:endParaRPr lang="fr-FR" dirty="0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58681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/>
          </p:nvPr>
        </p:nvSpPr>
        <p:spPr>
          <a:xfrm>
            <a:off x="2838451" y="828676"/>
            <a:ext cx="4223393" cy="3687290"/>
          </a:xfrm>
        </p:spPr>
        <p:txBody>
          <a:bodyPr anchor="ctr" anchorCtr="0"/>
          <a:lstStyle>
            <a:lvl1pPr marL="401241" indent="-401241">
              <a:spcBef>
                <a:spcPts val="1500"/>
              </a:spcBef>
              <a:buClr>
                <a:srgbClr val="004563"/>
              </a:buClr>
              <a:buFontTx/>
              <a:buNone/>
              <a:defRPr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900" b="0">
                <a:solidFill>
                  <a:srgbClr val="004563"/>
                </a:solidFill>
                <a:latin typeface="Century Gothic" pitchFamily="34" charset="0"/>
              </a:defRPr>
            </a:lvl2pPr>
            <a:lvl3pPr marL="135731" indent="-135731">
              <a:buClr>
                <a:srgbClr val="004563"/>
              </a:buClr>
              <a:defRPr sz="900" b="1">
                <a:latin typeface="Century Gothic" pitchFamily="34" charset="0"/>
              </a:defRPr>
            </a:lvl3pPr>
            <a:lvl4pPr marL="135731" indent="0">
              <a:defRPr sz="900">
                <a:latin typeface="Century Gothic" pitchFamily="34" charset="0"/>
              </a:defRPr>
            </a:lvl4pPr>
            <a:lvl5pPr marL="271463" indent="-135731">
              <a:defRPr sz="900">
                <a:latin typeface="Century Gothic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9" name="Espace réservé du contenu 9"/>
          <p:cNvSpPr>
            <a:spLocks noGrp="1"/>
          </p:cNvSpPr>
          <p:nvPr>
            <p:ph sz="quarter" idx="15" hasCustomPrompt="1"/>
          </p:nvPr>
        </p:nvSpPr>
        <p:spPr>
          <a:xfrm>
            <a:off x="7061844" y="825155"/>
            <a:ext cx="571997" cy="3687290"/>
          </a:xfrm>
        </p:spPr>
        <p:txBody>
          <a:bodyPr anchor="ctr" anchorCtr="0"/>
          <a:lstStyle>
            <a:lvl1pPr marL="401241" indent="-401241" algn="r">
              <a:spcBef>
                <a:spcPts val="1500"/>
              </a:spcBef>
              <a:buClr>
                <a:srgbClr val="004563"/>
              </a:buClr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r">
              <a:spcBef>
                <a:spcPts val="0"/>
              </a:spcBef>
              <a:buFontTx/>
              <a:buNone/>
              <a:defRPr sz="900" b="0">
                <a:solidFill>
                  <a:schemeClr val="tx2"/>
                </a:solidFill>
                <a:latin typeface="Century Gothic" pitchFamily="34" charset="0"/>
              </a:defRPr>
            </a:lvl2pPr>
            <a:lvl3pPr marL="135731" indent="-135731" algn="r">
              <a:buClr>
                <a:schemeClr val="tx2"/>
              </a:buClr>
              <a:defRPr sz="900" b="1">
                <a:latin typeface="Century Gothic" pitchFamily="34" charset="0"/>
              </a:defRPr>
            </a:lvl3pPr>
            <a:lvl4pPr marL="135731" indent="0" algn="r">
              <a:defRPr sz="900">
                <a:latin typeface="Century Gothic" pitchFamily="34" charset="0"/>
              </a:defRPr>
            </a:lvl4pPr>
            <a:lvl5pPr marL="271463" indent="-135731" algn="r">
              <a:defRPr sz="9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>
                <a:solidFill>
                  <a:srgbClr val="004563"/>
                </a:solidFill>
              </a:rPr>
              <a:t>Status update on "Access Rights"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12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81564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>
                <a:solidFill>
                  <a:srgbClr val="E40A38"/>
                </a:solidFill>
              </a:rPr>
              <a:t>CONFIDENTIAL</a:t>
            </a:r>
            <a:endParaRPr lang="fr-FR" dirty="0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028425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738188" y="1177529"/>
            <a:ext cx="7670799" cy="3352801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4563"/>
                </a:solidFill>
              </a:rPr>
              <a:t>Status update on "Access Rights"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76" y="614552"/>
            <a:ext cx="7670799" cy="28634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81564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>
                <a:solidFill>
                  <a:srgbClr val="E40A38"/>
                </a:solidFill>
              </a:rPr>
              <a:t>CONFIDENTIAL</a:t>
            </a:r>
            <a:endParaRPr lang="fr-FR" dirty="0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8430142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s/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ommaire"/>
          <p:cNvSpPr>
            <a:spLocks noGrp="1"/>
          </p:cNvSpPr>
          <p:nvPr>
            <p:ph type="title" hasCustomPrompt="1"/>
          </p:nvPr>
        </p:nvSpPr>
        <p:spPr>
          <a:xfrm>
            <a:off x="234000" y="205978"/>
            <a:ext cx="8820000" cy="352822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defRPr sz="2400">
                <a:solidFill>
                  <a:srgbClr val="00008F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noProof="0" dirty="0"/>
              <a:t>Title 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33999" y="571705"/>
            <a:ext cx="8820000" cy="28554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800">
                <a:solidFill>
                  <a:srgbClr val="027180"/>
                </a:solidFill>
                <a:latin typeface="Source Sans Pro" pitchFamily="34" charset="0"/>
                <a:cs typeface="Arial" pitchFamily="34" charset="0"/>
              </a:defRPr>
            </a:lvl1pPr>
          </a:lstStyle>
          <a:p>
            <a:r>
              <a:rPr lang="en-US" dirty="0"/>
              <a:t>Subtitle or next title (optional)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2" hasCustomPrompt="1"/>
          </p:nvPr>
        </p:nvSpPr>
        <p:spPr>
          <a:xfrm>
            <a:off x="234000" y="1230406"/>
            <a:ext cx="8820000" cy="2126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 sz="12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Table title</a:t>
            </a:r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3" hasCustomPrompt="1"/>
          </p:nvPr>
        </p:nvSpPr>
        <p:spPr>
          <a:xfrm>
            <a:off x="234000" y="1764506"/>
            <a:ext cx="8820000" cy="250031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on the icon to add a table</a:t>
            </a:r>
            <a:endParaRPr lang="fr-FR" dirty="0"/>
          </a:p>
        </p:txBody>
      </p:sp>
      <p:sp>
        <p:nvSpPr>
          <p:cNvPr id="16" name="Espace réservé du texte 2"/>
          <p:cNvSpPr>
            <a:spLocks noGrp="1"/>
          </p:cNvSpPr>
          <p:nvPr>
            <p:ph type="body" sz="quarter" idx="14" hasCustomPrompt="1"/>
          </p:nvPr>
        </p:nvSpPr>
        <p:spPr>
          <a:xfrm>
            <a:off x="234000" y="1444719"/>
            <a:ext cx="8820000" cy="2340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 sz="12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Table subtitle</a:t>
            </a:r>
          </a:p>
        </p:txBody>
      </p:sp>
      <p:pic>
        <p:nvPicPr>
          <p:cNvPr id="10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81546" y="4877227"/>
            <a:ext cx="176979" cy="17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500253" y="4906460"/>
            <a:ext cx="2215515" cy="175022"/>
          </a:xfrm>
        </p:spPr>
        <p:txBody>
          <a:bodyPr/>
          <a:lstStyle/>
          <a:p>
            <a:r>
              <a:rPr lang="en-US" noProof="0"/>
              <a:t>IT Deep Dive l September 2018</a:t>
            </a:r>
            <a:endParaRPr lang="en-US" noProof="0" dirty="0"/>
          </a:p>
        </p:txBody>
      </p:sp>
      <p:sp>
        <p:nvSpPr>
          <p:cNvPr id="17" name="Espace réservé du pied de page 3"/>
          <p:cNvSpPr>
            <a:spLocks noGrp="1"/>
          </p:cNvSpPr>
          <p:nvPr>
            <p:ph type="ftr" sz="quarter" idx="15"/>
          </p:nvPr>
        </p:nvSpPr>
        <p:spPr>
          <a:xfrm>
            <a:off x="3326957" y="4906460"/>
            <a:ext cx="2474912" cy="175022"/>
          </a:xfr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191808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4563"/>
                </a:solidFill>
              </a:rPr>
              <a:t>Status update on "Access Rights"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7" name="Espace réservé du tableau 6"/>
          <p:cNvSpPr>
            <a:spLocks noGrp="1"/>
          </p:cNvSpPr>
          <p:nvPr>
            <p:ph type="tbl" sz="quarter" idx="13"/>
          </p:nvPr>
        </p:nvSpPr>
        <p:spPr>
          <a:xfrm>
            <a:off x="736600" y="1668066"/>
            <a:ext cx="7672388" cy="2862263"/>
          </a:xfrm>
        </p:spPr>
        <p:txBody>
          <a:bodyPr>
            <a:normAutofit/>
          </a:bodyPr>
          <a:lstStyle>
            <a:lvl1pPr>
              <a:buFontTx/>
              <a:buNone/>
              <a:defRPr sz="1050"/>
            </a:lvl1pPr>
          </a:lstStyle>
          <a:p>
            <a:r>
              <a:rPr lang="en-US"/>
              <a:t>Click icon to add table</a:t>
            </a:r>
            <a:endParaRPr lang="fr-FR" dirty="0"/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727076" y="614552"/>
            <a:ext cx="7670799" cy="28634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81564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>
                <a:solidFill>
                  <a:srgbClr val="E40A38"/>
                </a:solidFill>
              </a:rPr>
              <a:t>CONFIDENTIAL</a:t>
            </a:r>
            <a:endParaRPr lang="fr-FR" dirty="0">
              <a:solidFill>
                <a:srgbClr val="E40A38"/>
              </a:solidFill>
            </a:endParaRPr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729562" y="1132243"/>
            <a:ext cx="3628126" cy="44533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62699302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22" name="Espace réservé du pied de page 2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4563"/>
                </a:solidFill>
              </a:rPr>
              <a:t>Status update on "Access Rights"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600075" y="1665321"/>
            <a:ext cx="3757613" cy="266581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4663765" y="1665321"/>
            <a:ext cx="3757613" cy="266581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729562" y="1132243"/>
            <a:ext cx="3628126" cy="44533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63257" y="1132243"/>
            <a:ext cx="3546985" cy="44533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727076" y="614552"/>
            <a:ext cx="7670799" cy="28634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81564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>
                <a:solidFill>
                  <a:srgbClr val="E40A38"/>
                </a:solidFill>
              </a:rPr>
              <a:t>CONFIDENTIAL</a:t>
            </a:r>
            <a:endParaRPr lang="fr-FR" dirty="0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371623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22" name="Espace réservé du pied de page 2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4563"/>
                </a:solidFill>
              </a:rPr>
              <a:t>Status update on "Access Rights"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600075" y="1662215"/>
            <a:ext cx="3757613" cy="108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4663765" y="1662215"/>
            <a:ext cx="3757613" cy="108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729562" y="1132243"/>
            <a:ext cx="3628126" cy="44533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 hasCustomPrompt="1"/>
          </p:nvPr>
        </p:nvSpPr>
        <p:spPr>
          <a:xfrm>
            <a:off x="4763257" y="1132243"/>
            <a:ext cx="3546985" cy="44533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727076" y="614552"/>
            <a:ext cx="7670799" cy="28634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81564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>
                <a:solidFill>
                  <a:srgbClr val="E40A38"/>
                </a:solidFill>
              </a:rPr>
              <a:t>CONFIDENTIAL</a:t>
            </a:r>
            <a:endParaRPr lang="fr-FR" dirty="0">
              <a:solidFill>
                <a:srgbClr val="E40A38"/>
              </a:solidFill>
            </a:endParaRPr>
          </a:p>
        </p:txBody>
      </p:sp>
      <p:sp>
        <p:nvSpPr>
          <p:cNvPr id="14" name="Espace réservé du graphique 8"/>
          <p:cNvSpPr>
            <a:spLocks noGrp="1"/>
          </p:cNvSpPr>
          <p:nvPr>
            <p:ph type="chart" sz="quarter" idx="17"/>
          </p:nvPr>
        </p:nvSpPr>
        <p:spPr>
          <a:xfrm>
            <a:off x="593451" y="3441917"/>
            <a:ext cx="3757613" cy="108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15" name="Espace réservé du graphique 8"/>
          <p:cNvSpPr>
            <a:spLocks noGrp="1"/>
          </p:cNvSpPr>
          <p:nvPr>
            <p:ph type="chart" sz="quarter" idx="18"/>
          </p:nvPr>
        </p:nvSpPr>
        <p:spPr>
          <a:xfrm>
            <a:off x="4657141" y="3441917"/>
            <a:ext cx="3757613" cy="108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16" name="Espace réservé du texte 5"/>
          <p:cNvSpPr>
            <a:spLocks noGrp="1"/>
          </p:cNvSpPr>
          <p:nvPr>
            <p:ph type="body" sz="quarter" idx="19" hasCustomPrompt="1"/>
          </p:nvPr>
        </p:nvSpPr>
        <p:spPr>
          <a:xfrm>
            <a:off x="722939" y="2926854"/>
            <a:ext cx="3628126" cy="44533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20" hasCustomPrompt="1"/>
          </p:nvPr>
        </p:nvSpPr>
        <p:spPr>
          <a:xfrm>
            <a:off x="4756633" y="2926854"/>
            <a:ext cx="3546985" cy="44533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2232682427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EMB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4817935" y="1177529"/>
            <a:ext cx="3591053" cy="3352800"/>
          </a:xfrm>
          <a:prstGeom prst="rect">
            <a:avLst/>
          </a:prstGeom>
        </p:spPr>
        <p:txBody>
          <a:bodyPr vert="horz" anchor="ctr" anchorCtr="0"/>
          <a:lstStyle>
            <a:lvl1pPr marL="214313" indent="-214313">
              <a:spcBef>
                <a:spcPts val="1125"/>
              </a:spcBef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spcBef>
                <a:spcPts val="1125"/>
              </a:spcBef>
              <a:buClr>
                <a:schemeClr val="accent2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spcBef>
                <a:spcPts val="1125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r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9" name="Espace réservé du numéro de diapositive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20" name="Espace réservé du pied de page 1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4563"/>
                </a:solidFill>
              </a:rPr>
              <a:t>Status update on "Access Rights"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1108075" y="2187903"/>
            <a:ext cx="2732088" cy="182999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729562" y="1132243"/>
            <a:ext cx="3628126" cy="44533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727076" y="614552"/>
            <a:ext cx="7670799" cy="28634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81564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>
                <a:solidFill>
                  <a:srgbClr val="E40A38"/>
                </a:solidFill>
              </a:rPr>
              <a:t>CONFIDENTIAL</a:t>
            </a:r>
            <a:endParaRPr lang="fr-FR" dirty="0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408102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3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738188" y="1177528"/>
            <a:ext cx="2340000" cy="1213247"/>
          </a:xfrm>
          <a:prstGeom prst="rect">
            <a:avLst/>
          </a:prstGeom>
          <a:ln w="12700">
            <a:solidFill>
              <a:schemeClr val="tx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tx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texte 12"/>
          <p:cNvSpPr>
            <a:spLocks noGrp="1"/>
          </p:cNvSpPr>
          <p:nvPr>
            <p:ph type="body" sz="quarter" idx="11"/>
          </p:nvPr>
        </p:nvSpPr>
        <p:spPr>
          <a:xfrm>
            <a:off x="3397210" y="1177528"/>
            <a:ext cx="2340000" cy="1213247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12"/>
          </p:nvPr>
        </p:nvSpPr>
        <p:spPr>
          <a:xfrm>
            <a:off x="6068988" y="1177528"/>
            <a:ext cx="2340000" cy="1213247"/>
          </a:xfrm>
          <a:prstGeom prst="rect">
            <a:avLst/>
          </a:prstGeom>
          <a:ln w="12700">
            <a:solidFill>
              <a:schemeClr val="accent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accent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732120" y="2628901"/>
            <a:ext cx="2340000" cy="1901429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2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Espace réservé du texte 18"/>
          <p:cNvSpPr>
            <a:spLocks noGrp="1"/>
          </p:cNvSpPr>
          <p:nvPr>
            <p:ph type="body" sz="quarter" idx="14"/>
          </p:nvPr>
        </p:nvSpPr>
        <p:spPr>
          <a:xfrm>
            <a:off x="3410965" y="2628901"/>
            <a:ext cx="2340000" cy="1901429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4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Espace réservé du texte 18"/>
          <p:cNvSpPr>
            <a:spLocks noGrp="1"/>
          </p:cNvSpPr>
          <p:nvPr>
            <p:ph type="body" sz="quarter" idx="15"/>
          </p:nvPr>
        </p:nvSpPr>
        <p:spPr>
          <a:xfrm>
            <a:off x="6067865" y="2628901"/>
            <a:ext cx="2340000" cy="1901429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5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9" name="Espace réservé du numéro de diapositive 2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30" name="Espace réservé du pied de page 29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>
                <a:solidFill>
                  <a:srgbClr val="004563"/>
                </a:solidFill>
              </a:rPr>
              <a:t>Status update on "Access Rights"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727076" y="614552"/>
            <a:ext cx="7670799" cy="28634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81564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>
                <a:solidFill>
                  <a:srgbClr val="E40A38"/>
                </a:solidFill>
              </a:rPr>
              <a:t>CONFIDENTIAL</a:t>
            </a:r>
            <a:endParaRPr lang="fr-FR" dirty="0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606133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1 BL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5857336" y="1177529"/>
            <a:ext cx="2551652" cy="335280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288000" tIns="252000" rIns="288000" bIns="252000" anchor="ctr" anchorCtr="1">
            <a:normAutofit/>
          </a:bodyPr>
          <a:lstStyle>
            <a:lvl1pPr marL="0" indent="0" algn="ctr">
              <a:buNone/>
              <a:defRPr sz="1050" b="1" i="0" cap="all" normalizeH="0" baseline="0">
                <a:ln>
                  <a:noFill/>
                </a:ln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737727" y="1177529"/>
            <a:ext cx="4283537" cy="3352800"/>
          </a:xfrm>
          <a:prstGeom prst="rect">
            <a:avLst/>
          </a:prstGeom>
        </p:spPr>
        <p:txBody>
          <a:bodyPr vert="horz" anchor="ctr" anchorCtr="0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200000"/>
              <a:buFontTx/>
              <a:buBlip>
                <a:blip r:embed="rId3"/>
              </a:buBlip>
              <a:defRPr sz="1200" baseline="0">
                <a:solidFill>
                  <a:schemeClr val="tx1"/>
                </a:solidFill>
                <a:latin typeface="Arial"/>
                <a:cs typeface="Arial"/>
              </a:defRPr>
            </a:lvl2pPr>
            <a:lvl3pPr marL="857250" indent="-171450">
              <a:buSzPct val="100000"/>
              <a:buFont typeface="Lucida Grande"/>
              <a:buChar char="&gt;"/>
              <a:defRPr sz="1050" i="1">
                <a:solidFill>
                  <a:schemeClr val="tx1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1" name="Espace réservé du numéro de diapositive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32" name="Espace réservé du pied de page 3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>
                <a:solidFill>
                  <a:srgbClr val="004563"/>
                </a:solidFill>
              </a:rPr>
              <a:t>Status update on "Access Rights"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727076" y="614552"/>
            <a:ext cx="7670799" cy="28634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81564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>
                <a:solidFill>
                  <a:srgbClr val="E40A38"/>
                </a:solidFill>
              </a:rPr>
              <a:t>CONFIDENTIAL</a:t>
            </a:r>
            <a:endParaRPr lang="fr-FR" dirty="0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584583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16" name="Espace réservé du pied de page 1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4563"/>
                </a:solidFill>
              </a:rPr>
              <a:t>Status update on "Access Rights"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76" y="614552"/>
            <a:ext cx="7670799" cy="28634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81564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>
                <a:solidFill>
                  <a:srgbClr val="E40A38"/>
                </a:solidFill>
              </a:rPr>
              <a:t>CONFIDENTIAL</a:t>
            </a:r>
            <a:endParaRPr lang="fr-FR" dirty="0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0467392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ommaire"/>
          <p:cNvSpPr>
            <a:spLocks noGrp="1"/>
          </p:cNvSpPr>
          <p:nvPr>
            <p:ph type="title" hasCustomPrompt="1"/>
          </p:nvPr>
        </p:nvSpPr>
        <p:spPr>
          <a:xfrm>
            <a:off x="234000" y="205978"/>
            <a:ext cx="8820000" cy="352822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defRPr sz="2400">
                <a:solidFill>
                  <a:srgbClr val="00008F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noProof="0" dirty="0"/>
              <a:t>Title 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33999" y="571705"/>
            <a:ext cx="8820000" cy="28554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marR="0" indent="0" algn="l" defTabSz="913723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rgbClr val="027180"/>
                </a:solidFill>
                <a:latin typeface="Source Sans Pro" pitchFamily="34" charset="0"/>
                <a:cs typeface="Arial" pitchFamily="34" charset="0"/>
              </a:defRPr>
            </a:lvl1pPr>
          </a:lstStyle>
          <a:p>
            <a:r>
              <a:rPr lang="en-US" dirty="0"/>
              <a:t>Subtitle or next title (optional)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2" hasCustomPrompt="1"/>
          </p:nvPr>
        </p:nvSpPr>
        <p:spPr>
          <a:xfrm>
            <a:off x="233997" y="1230406"/>
            <a:ext cx="4140000" cy="2126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 sz="12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6" name="Espace réservé du texte 2"/>
          <p:cNvSpPr>
            <a:spLocks noGrp="1"/>
          </p:cNvSpPr>
          <p:nvPr>
            <p:ph type="body" sz="quarter" idx="14" hasCustomPrompt="1"/>
          </p:nvPr>
        </p:nvSpPr>
        <p:spPr>
          <a:xfrm>
            <a:off x="233997" y="1444719"/>
            <a:ext cx="4140000" cy="2340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 sz="12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hart subtitle</a:t>
            </a:r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5" hasCustomPrompt="1"/>
          </p:nvPr>
        </p:nvSpPr>
        <p:spPr>
          <a:xfrm>
            <a:off x="233997" y="1778794"/>
            <a:ext cx="4140000" cy="24300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lick on the icon to add a graph</a:t>
            </a:r>
            <a:endParaRPr lang="fr-FR" dirty="0"/>
          </a:p>
        </p:txBody>
      </p:sp>
      <p:sp>
        <p:nvSpPr>
          <p:cNvPr id="22" name="Espace réservé du texte 2"/>
          <p:cNvSpPr>
            <a:spLocks noGrp="1"/>
          </p:cNvSpPr>
          <p:nvPr>
            <p:ph type="body" sz="quarter" idx="16" hasCustomPrompt="1"/>
          </p:nvPr>
        </p:nvSpPr>
        <p:spPr>
          <a:xfrm>
            <a:off x="4570413" y="1230406"/>
            <a:ext cx="4140000" cy="2126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 sz="12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23" name="Espace réservé du texte 2"/>
          <p:cNvSpPr>
            <a:spLocks noGrp="1"/>
          </p:cNvSpPr>
          <p:nvPr>
            <p:ph type="body" sz="quarter" idx="17" hasCustomPrompt="1"/>
          </p:nvPr>
        </p:nvSpPr>
        <p:spPr>
          <a:xfrm>
            <a:off x="4570413" y="1444719"/>
            <a:ext cx="4140000" cy="2340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 sz="12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hart subtitle</a:t>
            </a:r>
          </a:p>
        </p:txBody>
      </p:sp>
      <p:sp>
        <p:nvSpPr>
          <p:cNvPr id="24" name="Espace réservé du graphique 3"/>
          <p:cNvSpPr>
            <a:spLocks noGrp="1"/>
          </p:cNvSpPr>
          <p:nvPr>
            <p:ph type="chart" sz="quarter" idx="18" hasCustomPrompt="1"/>
          </p:nvPr>
        </p:nvSpPr>
        <p:spPr>
          <a:xfrm>
            <a:off x="4570413" y="1778794"/>
            <a:ext cx="4140000" cy="2430000"/>
          </a:xfrm>
          <a:prstGeom prst="rect">
            <a:avLst/>
          </a:prstGeom>
        </p:spPr>
        <p:txBody>
          <a:bodyPr anchor="ctr"/>
          <a:lstStyle>
            <a:lvl1pPr marL="0" marR="0" indent="0" algn="ctr" defTabSz="913723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lick on the icon to add a graph</a:t>
            </a:r>
            <a:endParaRPr lang="fr-FR" dirty="0"/>
          </a:p>
        </p:txBody>
      </p:sp>
      <p:pic>
        <p:nvPicPr>
          <p:cNvPr id="13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81546" y="4877227"/>
            <a:ext cx="176979" cy="17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500253" y="4906460"/>
            <a:ext cx="2215515" cy="175022"/>
          </a:xfrm>
        </p:spPr>
        <p:txBody>
          <a:bodyPr/>
          <a:lstStyle/>
          <a:p>
            <a:r>
              <a:rPr lang="en-US" noProof="0"/>
              <a:t>IT Deep Dive l September 2018</a:t>
            </a:r>
            <a:endParaRPr lang="en-US" noProof="0" dirty="0"/>
          </a:p>
        </p:txBody>
      </p:sp>
      <p:sp>
        <p:nvSpPr>
          <p:cNvPr id="15" name="Espace réservé du pied de page 3"/>
          <p:cNvSpPr>
            <a:spLocks noGrp="1"/>
          </p:cNvSpPr>
          <p:nvPr>
            <p:ph type="ftr" sz="quarter" idx="19"/>
          </p:nvPr>
        </p:nvSpPr>
        <p:spPr>
          <a:xfrm>
            <a:off x="3326957" y="4906460"/>
            <a:ext cx="2474912" cy="175022"/>
          </a:xfr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03353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ommaire"/>
          <p:cNvSpPr>
            <a:spLocks noGrp="1"/>
          </p:cNvSpPr>
          <p:nvPr>
            <p:ph type="title" hasCustomPrompt="1"/>
          </p:nvPr>
        </p:nvSpPr>
        <p:spPr>
          <a:xfrm>
            <a:off x="234000" y="205978"/>
            <a:ext cx="8820000" cy="352822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defRPr sz="2400">
                <a:solidFill>
                  <a:srgbClr val="00008F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noProof="0" dirty="0"/>
              <a:t>Title 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33999" y="571705"/>
            <a:ext cx="8820000" cy="28554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800">
                <a:solidFill>
                  <a:srgbClr val="027180"/>
                </a:solidFill>
                <a:latin typeface="Source Sans Pro" pitchFamily="34" charset="0"/>
                <a:cs typeface="Arial" pitchFamily="34" charset="0"/>
              </a:defRPr>
            </a:lvl1pPr>
          </a:lstStyle>
          <a:p>
            <a:r>
              <a:rPr lang="en-US" dirty="0"/>
              <a:t>Subtitle or next title (optional)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2" hasCustomPrompt="1"/>
          </p:nvPr>
        </p:nvSpPr>
        <p:spPr>
          <a:xfrm>
            <a:off x="233997" y="1230406"/>
            <a:ext cx="4140000" cy="2126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 sz="12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6" name="Espace réservé du texte 2"/>
          <p:cNvSpPr>
            <a:spLocks noGrp="1"/>
          </p:cNvSpPr>
          <p:nvPr>
            <p:ph type="body" sz="quarter" idx="14" hasCustomPrompt="1"/>
          </p:nvPr>
        </p:nvSpPr>
        <p:spPr>
          <a:xfrm>
            <a:off x="233997" y="1444719"/>
            <a:ext cx="4140000" cy="2340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 sz="12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hart subtitle</a:t>
            </a:r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5" hasCustomPrompt="1"/>
          </p:nvPr>
        </p:nvSpPr>
        <p:spPr>
          <a:xfrm>
            <a:off x="233997" y="1778794"/>
            <a:ext cx="4140000" cy="115014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lick on the icon to add a graph</a:t>
            </a:r>
          </a:p>
        </p:txBody>
      </p:sp>
      <p:sp>
        <p:nvSpPr>
          <p:cNvPr id="22" name="Espace réservé du texte 2"/>
          <p:cNvSpPr>
            <a:spLocks noGrp="1"/>
          </p:cNvSpPr>
          <p:nvPr>
            <p:ph type="body" sz="quarter" idx="16" hasCustomPrompt="1"/>
          </p:nvPr>
        </p:nvSpPr>
        <p:spPr>
          <a:xfrm>
            <a:off x="4611357" y="1230406"/>
            <a:ext cx="4140000" cy="2126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 sz="12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23" name="Espace réservé du texte 2"/>
          <p:cNvSpPr>
            <a:spLocks noGrp="1"/>
          </p:cNvSpPr>
          <p:nvPr>
            <p:ph type="body" sz="quarter" idx="17" hasCustomPrompt="1"/>
          </p:nvPr>
        </p:nvSpPr>
        <p:spPr>
          <a:xfrm>
            <a:off x="4611357" y="1444719"/>
            <a:ext cx="4140000" cy="2340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 sz="12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hart subtitle</a:t>
            </a:r>
          </a:p>
        </p:txBody>
      </p:sp>
      <p:sp>
        <p:nvSpPr>
          <p:cNvPr id="24" name="Espace réservé du graphique 3"/>
          <p:cNvSpPr>
            <a:spLocks noGrp="1"/>
          </p:cNvSpPr>
          <p:nvPr>
            <p:ph type="chart" sz="quarter" idx="18" hasCustomPrompt="1"/>
          </p:nvPr>
        </p:nvSpPr>
        <p:spPr>
          <a:xfrm>
            <a:off x="4611357" y="1778794"/>
            <a:ext cx="4140000" cy="115014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lick on the icon to add a graph</a:t>
            </a:r>
          </a:p>
        </p:txBody>
      </p:sp>
      <p:sp>
        <p:nvSpPr>
          <p:cNvPr id="13" name="Espace réservé du texte 2"/>
          <p:cNvSpPr>
            <a:spLocks noGrp="1"/>
          </p:cNvSpPr>
          <p:nvPr>
            <p:ph type="body" sz="quarter" idx="19" hasCustomPrompt="1"/>
          </p:nvPr>
        </p:nvSpPr>
        <p:spPr>
          <a:xfrm>
            <a:off x="233997" y="3073494"/>
            <a:ext cx="4140000" cy="2126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 sz="12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4" name="Espace réservé du texte 2"/>
          <p:cNvSpPr>
            <a:spLocks noGrp="1"/>
          </p:cNvSpPr>
          <p:nvPr>
            <p:ph type="body" sz="quarter" idx="20" hasCustomPrompt="1"/>
          </p:nvPr>
        </p:nvSpPr>
        <p:spPr>
          <a:xfrm>
            <a:off x="233997" y="3287807"/>
            <a:ext cx="4140000" cy="2340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 sz="12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hart subtitle</a:t>
            </a:r>
          </a:p>
        </p:txBody>
      </p:sp>
      <p:sp>
        <p:nvSpPr>
          <p:cNvPr id="15" name="Espace réservé du graphique 3"/>
          <p:cNvSpPr>
            <a:spLocks noGrp="1"/>
          </p:cNvSpPr>
          <p:nvPr>
            <p:ph type="chart" sz="quarter" idx="21" hasCustomPrompt="1"/>
          </p:nvPr>
        </p:nvSpPr>
        <p:spPr>
          <a:xfrm>
            <a:off x="233997" y="3621882"/>
            <a:ext cx="4140000" cy="115014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lick on the icon to add a graph</a:t>
            </a:r>
          </a:p>
        </p:txBody>
      </p:sp>
      <p:sp>
        <p:nvSpPr>
          <p:cNvPr id="17" name="Espace réservé du texte 2"/>
          <p:cNvSpPr>
            <a:spLocks noGrp="1"/>
          </p:cNvSpPr>
          <p:nvPr>
            <p:ph type="body" sz="quarter" idx="22" hasCustomPrompt="1"/>
          </p:nvPr>
        </p:nvSpPr>
        <p:spPr>
          <a:xfrm>
            <a:off x="4611357" y="3073494"/>
            <a:ext cx="4140000" cy="2126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 sz="12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8" name="Espace réservé du texte 2"/>
          <p:cNvSpPr>
            <a:spLocks noGrp="1"/>
          </p:cNvSpPr>
          <p:nvPr>
            <p:ph type="body" sz="quarter" idx="23" hasCustomPrompt="1"/>
          </p:nvPr>
        </p:nvSpPr>
        <p:spPr>
          <a:xfrm>
            <a:off x="4611357" y="3287807"/>
            <a:ext cx="4140000" cy="2340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 sz="12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hart subtitle</a:t>
            </a:r>
          </a:p>
        </p:txBody>
      </p:sp>
      <p:sp>
        <p:nvSpPr>
          <p:cNvPr id="19" name="Espace réservé du graphique 3"/>
          <p:cNvSpPr>
            <a:spLocks noGrp="1"/>
          </p:cNvSpPr>
          <p:nvPr>
            <p:ph type="chart" sz="quarter" idx="24" hasCustomPrompt="1"/>
          </p:nvPr>
        </p:nvSpPr>
        <p:spPr>
          <a:xfrm>
            <a:off x="4611357" y="3621882"/>
            <a:ext cx="4140000" cy="115014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lick on the icon to add a graph</a:t>
            </a:r>
          </a:p>
        </p:txBody>
      </p:sp>
      <p:pic>
        <p:nvPicPr>
          <p:cNvPr id="20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81546" y="4877227"/>
            <a:ext cx="176979" cy="17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500253" y="4906460"/>
            <a:ext cx="2215515" cy="175022"/>
          </a:xfrm>
        </p:spPr>
        <p:txBody>
          <a:bodyPr/>
          <a:lstStyle/>
          <a:p>
            <a:r>
              <a:rPr lang="en-US" noProof="0"/>
              <a:t>IT Deep Dive l September 2018</a:t>
            </a:r>
            <a:endParaRPr lang="en-US" noProof="0" dirty="0"/>
          </a:p>
        </p:txBody>
      </p:sp>
      <p:sp>
        <p:nvSpPr>
          <p:cNvPr id="25" name="Espace réservé du pied de page 3"/>
          <p:cNvSpPr>
            <a:spLocks noGrp="1"/>
          </p:cNvSpPr>
          <p:nvPr>
            <p:ph type="ftr" sz="quarter" idx="25"/>
          </p:nvPr>
        </p:nvSpPr>
        <p:spPr>
          <a:xfrm>
            <a:off x="3326957" y="4906460"/>
            <a:ext cx="2474912" cy="175022"/>
          </a:xfr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155032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ommaire"/>
          <p:cNvSpPr>
            <a:spLocks noGrp="1"/>
          </p:cNvSpPr>
          <p:nvPr>
            <p:ph type="title" hasCustomPrompt="1"/>
          </p:nvPr>
        </p:nvSpPr>
        <p:spPr>
          <a:xfrm>
            <a:off x="234000" y="205978"/>
            <a:ext cx="8820000" cy="352822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defRPr sz="2400">
                <a:solidFill>
                  <a:srgbClr val="00008F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noProof="0" dirty="0"/>
              <a:t>Title 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33999" y="571705"/>
            <a:ext cx="8820000" cy="28554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800">
                <a:solidFill>
                  <a:srgbClr val="027180"/>
                </a:solidFill>
                <a:latin typeface="Source Sans Pro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Subtitle or next title (optional)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2" hasCustomPrompt="1"/>
          </p:nvPr>
        </p:nvSpPr>
        <p:spPr>
          <a:xfrm>
            <a:off x="233997" y="1230406"/>
            <a:ext cx="3240000" cy="2126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 sz="12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6" name="Espace réservé du texte 2"/>
          <p:cNvSpPr>
            <a:spLocks noGrp="1"/>
          </p:cNvSpPr>
          <p:nvPr>
            <p:ph type="body" sz="quarter" idx="14" hasCustomPrompt="1"/>
          </p:nvPr>
        </p:nvSpPr>
        <p:spPr>
          <a:xfrm>
            <a:off x="233997" y="1444719"/>
            <a:ext cx="3240000" cy="2340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>
                <a:solidFill>
                  <a:schemeClr val="tx2"/>
                </a:solidFill>
                <a:latin typeface="+mn-lt"/>
              </a:defRPr>
            </a:lvl1pPr>
            <a:lvl2pPr marL="0" indent="0">
              <a:buNone/>
              <a:defRPr sz="12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hart subtitle</a:t>
            </a:r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5" hasCustomPrompt="1"/>
          </p:nvPr>
        </p:nvSpPr>
        <p:spPr>
          <a:xfrm>
            <a:off x="233997" y="1778794"/>
            <a:ext cx="3240000" cy="24300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lick on</a:t>
            </a:r>
          </a:p>
          <a:p>
            <a:r>
              <a:rPr lang="en-US" dirty="0"/>
              <a:t> the icon to add a graph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3796367" y="1889523"/>
            <a:ext cx="4359275" cy="2620565"/>
          </a:xfrm>
          <a:prstGeom prst="rect">
            <a:avLst/>
          </a:prstGeom>
        </p:spPr>
        <p:txBody>
          <a:bodyPr lIns="0" tIns="0" rIns="0" bIns="0"/>
          <a:lstStyle>
            <a:lvl1pPr marL="341345" indent="-341345">
              <a:buSzPct val="120000"/>
              <a:buFontTx/>
              <a:buBlip>
                <a:blip r:embed="rId2"/>
              </a:buBlip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fr-FR" dirty="0"/>
          </a:p>
        </p:txBody>
      </p:sp>
      <p:pic>
        <p:nvPicPr>
          <p:cNvPr id="13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81546" y="4877227"/>
            <a:ext cx="176979" cy="17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500253" y="4906460"/>
            <a:ext cx="2215515" cy="175022"/>
          </a:xfrm>
        </p:spPr>
        <p:txBody>
          <a:bodyPr/>
          <a:lstStyle/>
          <a:p>
            <a:r>
              <a:rPr lang="en-US" noProof="0"/>
              <a:t>IT Deep Dive l September 2018</a:t>
            </a:r>
            <a:endParaRPr lang="en-US" noProof="0" dirty="0"/>
          </a:p>
        </p:txBody>
      </p:sp>
      <p:sp>
        <p:nvSpPr>
          <p:cNvPr id="15" name="Espace réservé du pied de page 3"/>
          <p:cNvSpPr>
            <a:spLocks noGrp="1"/>
          </p:cNvSpPr>
          <p:nvPr>
            <p:ph type="ftr" sz="quarter" idx="17"/>
          </p:nvPr>
        </p:nvSpPr>
        <p:spPr>
          <a:xfrm>
            <a:off x="3326957" y="4906460"/>
            <a:ext cx="2474912" cy="175022"/>
          </a:xfr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618924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IT Deep Dive l September 2018</a:t>
            </a:r>
            <a:endParaRPr lang="en-US" noProof="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20" name="Espace réservé du texte 19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1223684"/>
            <a:ext cx="2520950" cy="1080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None/>
              <a:defRPr sz="16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fr-FR" dirty="0"/>
          </a:p>
        </p:txBody>
      </p:sp>
      <p:sp>
        <p:nvSpPr>
          <p:cNvPr id="21" name="Espace réservé du texte 19"/>
          <p:cNvSpPr>
            <a:spLocks noGrp="1"/>
          </p:cNvSpPr>
          <p:nvPr>
            <p:ph type="body" sz="quarter" idx="15" hasCustomPrompt="1"/>
          </p:nvPr>
        </p:nvSpPr>
        <p:spPr>
          <a:xfrm>
            <a:off x="3312000" y="1223684"/>
            <a:ext cx="2520950" cy="1080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None/>
              <a:defRPr sz="16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2" name="Espace réservé du texte 19"/>
          <p:cNvSpPr>
            <a:spLocks noGrp="1"/>
          </p:cNvSpPr>
          <p:nvPr>
            <p:ph type="body" sz="quarter" idx="16" hasCustomPrompt="1"/>
          </p:nvPr>
        </p:nvSpPr>
        <p:spPr>
          <a:xfrm>
            <a:off x="6227050" y="1223684"/>
            <a:ext cx="2520950" cy="1080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None/>
              <a:defRPr sz="16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7" hasCustomPrompt="1"/>
          </p:nvPr>
        </p:nvSpPr>
        <p:spPr>
          <a:xfrm>
            <a:off x="396000" y="2447365"/>
            <a:ext cx="2520000" cy="1218009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SzPct val="120000"/>
              <a:buFontTx/>
              <a:buBlip>
                <a:blip r:embed="rId2"/>
              </a:buBlip>
              <a:defRPr sz="1400"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text</a:t>
            </a:r>
            <a:endParaRPr lang="fr-FR" dirty="0"/>
          </a:p>
        </p:txBody>
      </p:sp>
      <p:sp>
        <p:nvSpPr>
          <p:cNvPr id="30" name="Espace réservé du texte 24"/>
          <p:cNvSpPr>
            <a:spLocks noGrp="1"/>
          </p:cNvSpPr>
          <p:nvPr>
            <p:ph type="body" sz="quarter" idx="18" hasCustomPrompt="1"/>
          </p:nvPr>
        </p:nvSpPr>
        <p:spPr>
          <a:xfrm>
            <a:off x="3312950" y="2447365"/>
            <a:ext cx="2520000" cy="1218009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SzPct val="120000"/>
              <a:buFontTx/>
              <a:buBlip>
                <a:blip r:embed="rId2"/>
              </a:buBlip>
              <a:defRPr sz="1400"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text</a:t>
            </a:r>
            <a:endParaRPr lang="fr-FR" dirty="0"/>
          </a:p>
        </p:txBody>
      </p:sp>
      <p:sp>
        <p:nvSpPr>
          <p:cNvPr id="31" name="Espace réservé du texte 24"/>
          <p:cNvSpPr>
            <a:spLocks noGrp="1"/>
          </p:cNvSpPr>
          <p:nvPr>
            <p:ph type="body" sz="quarter" idx="19" hasCustomPrompt="1"/>
          </p:nvPr>
        </p:nvSpPr>
        <p:spPr>
          <a:xfrm>
            <a:off x="6228000" y="2447365"/>
            <a:ext cx="2520000" cy="1218009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SzPct val="120000"/>
              <a:buFontTx/>
              <a:buBlip>
                <a:blip r:embed="rId2"/>
              </a:buBlip>
              <a:defRPr sz="1400"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text</a:t>
            </a:r>
            <a:endParaRPr lang="fr-FR" dirty="0"/>
          </a:p>
        </p:txBody>
      </p:sp>
      <p:pic>
        <p:nvPicPr>
          <p:cNvPr id="12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81546" y="4877227"/>
            <a:ext cx="176979" cy="17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ommaire"/>
          <p:cNvSpPr>
            <a:spLocks noGrp="1"/>
          </p:cNvSpPr>
          <p:nvPr>
            <p:ph type="title" hasCustomPrompt="1"/>
          </p:nvPr>
        </p:nvSpPr>
        <p:spPr>
          <a:xfrm>
            <a:off x="234000" y="205978"/>
            <a:ext cx="8820000" cy="352822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defRPr sz="2400">
                <a:solidFill>
                  <a:srgbClr val="00008F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noProof="0" dirty="0"/>
              <a:t>Title 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0" hasCustomPrompt="1"/>
          </p:nvPr>
        </p:nvSpPr>
        <p:spPr>
          <a:xfrm>
            <a:off x="233999" y="571705"/>
            <a:ext cx="8820000" cy="28554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800">
                <a:solidFill>
                  <a:srgbClr val="02718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/>
              <a:t>Subtitle or next 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2635169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image" Target="../media/image7.png"/><Relationship Id="rId10" Type="http://schemas.openxmlformats.org/officeDocument/2006/relationships/slideLayout" Target="../slideLayouts/slideLayout21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image" Target="../media/image6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image" Target="../media/image9.gif"/><Relationship Id="rId2" Type="http://schemas.openxmlformats.org/officeDocument/2006/relationships/slideLayout" Target="../slideLayouts/slideLayout30.xml"/><Relationship Id="rId16" Type="http://schemas.openxmlformats.org/officeDocument/2006/relationships/image" Target="../media/image14.jpeg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4.xml"/><Relationship Id="rId16" Type="http://schemas.openxmlformats.org/officeDocument/2006/relationships/image" Target="../media/image9.gif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4"/>
          <p:cNvSpPr txBox="1">
            <a:spLocks/>
          </p:cNvSpPr>
          <p:nvPr userDrawn="1"/>
        </p:nvSpPr>
        <p:spPr>
          <a:xfrm>
            <a:off x="8446" y="4862910"/>
            <a:ext cx="618597" cy="249636"/>
          </a:xfrm>
          <a:prstGeom prst="rect">
            <a:avLst/>
          </a:prstGeom>
        </p:spPr>
        <p:txBody>
          <a:bodyPr vert="horz" lIns="81628" tIns="40814" rIns="81628" bIns="40814" rtlCol="0" anchor="ctr"/>
          <a:lstStyle>
            <a:lvl1pPr>
              <a:defRPr>
                <a:latin typeface="+mj-lt"/>
              </a:defRPr>
            </a:lvl1pPr>
          </a:lstStyle>
          <a:p>
            <a:pPr marL="0" marR="0" lvl="0" indent="0" algn="ctr" defTabSz="8162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8FEFB8-6B6E-4DC1-A5E4-A1258711B442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ource Sans Pro" pitchFamily="34" charset="0"/>
                <a:ea typeface="+mn-ea"/>
                <a:cs typeface="Arial" pitchFamily="34" charset="0"/>
              </a:rPr>
              <a:pPr marL="0" marR="0" lvl="0" indent="0" algn="ctr" defTabSz="8162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ource Sans Pro" pitchFamily="34" charset="0"/>
              <a:ea typeface="+mn-ea"/>
              <a:cs typeface="Arial" pitchFamily="34" charset="0"/>
            </a:endParaRPr>
          </a:p>
        </p:txBody>
      </p:sp>
      <p:sp>
        <p:nvSpPr>
          <p:cNvPr id="3" name="Espace réservé de la date 1"/>
          <p:cNvSpPr>
            <a:spLocks noGrp="1"/>
          </p:cNvSpPr>
          <p:nvPr>
            <p:ph type="dt" sz="half" idx="2"/>
          </p:nvPr>
        </p:nvSpPr>
        <p:spPr>
          <a:xfrm>
            <a:off x="500253" y="4906460"/>
            <a:ext cx="2215515" cy="175022"/>
          </a:xfrm>
          <a:prstGeom prst="rect">
            <a:avLst/>
          </a:prstGeom>
        </p:spPr>
        <p:txBody>
          <a:bodyPr vert="horz" lIns="81628" tIns="40814" rIns="81628" bIns="40814" rtlCol="0" anchor="ctr"/>
          <a:lstStyle>
            <a:lvl1pPr algn="l">
              <a:defRPr sz="800">
                <a:solidFill>
                  <a:schemeClr val="tx1"/>
                </a:solidFill>
                <a:latin typeface="Source Sans Pro" pitchFamily="34" charset="0"/>
              </a:defRPr>
            </a:lvl1pPr>
          </a:lstStyle>
          <a:p>
            <a:r>
              <a:rPr lang="en-US" noProof="0"/>
              <a:t>IT Deep Dive l September 2018</a:t>
            </a:r>
            <a:endParaRPr lang="en-US" noProof="0" dirty="0"/>
          </a:p>
        </p:txBody>
      </p:sp>
      <p:sp>
        <p:nvSpPr>
          <p:cNvPr id="5" name="Espace réservé du pied de page 2"/>
          <p:cNvSpPr>
            <a:spLocks noGrp="1"/>
          </p:cNvSpPr>
          <p:nvPr>
            <p:ph type="ftr" sz="quarter" idx="3"/>
          </p:nvPr>
        </p:nvSpPr>
        <p:spPr>
          <a:xfrm>
            <a:off x="3326957" y="4906460"/>
            <a:ext cx="2474912" cy="175022"/>
          </a:xfrm>
          <a:prstGeom prst="rect">
            <a:avLst/>
          </a:prstGeom>
        </p:spPr>
        <p:txBody>
          <a:bodyPr vert="horz" lIns="81628" tIns="40814" rIns="81628" bIns="40814" rtlCol="0" anchor="ctr"/>
          <a:lstStyle>
            <a:lvl1pPr algn="ctr">
              <a:defRPr sz="800">
                <a:solidFill>
                  <a:srgbClr val="FF0000"/>
                </a:solidFill>
                <a:latin typeface="Source Sans Pro" pitchFamily="34" charset="0"/>
              </a:defRPr>
            </a:lvl1pPr>
          </a:lstStyle>
          <a:p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9" r:id="rId2"/>
    <p:sldLayoutId id="2147483900" r:id="rId3"/>
    <p:sldLayoutId id="2147483898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</p:sldLayoutIdLst>
  <p:hf sldNum="0" hdr="0"/>
  <p:txStyles>
    <p:titleStyle>
      <a:lvl1pPr algn="ctr" defTabSz="815680" rtl="0" eaLnBrk="0" fontAlgn="base" hangingPunct="0">
        <a:spcBef>
          <a:spcPct val="0"/>
        </a:spcBef>
        <a:spcAft>
          <a:spcPct val="0"/>
        </a:spcAft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815680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Source Sans Pro" pitchFamily="34" charset="0"/>
        </a:defRPr>
      </a:lvl2pPr>
      <a:lvl3pPr algn="ctr" defTabSz="815680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Source Sans Pro" pitchFamily="34" charset="0"/>
        </a:defRPr>
      </a:lvl3pPr>
      <a:lvl4pPr algn="ctr" defTabSz="815680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Source Sans Pro" pitchFamily="34" charset="0"/>
        </a:defRPr>
      </a:lvl4pPr>
      <a:lvl5pPr algn="ctr" defTabSz="815680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Source Sans Pro" pitchFamily="34" charset="0"/>
        </a:defRPr>
      </a:lvl5pPr>
      <a:lvl6pPr marL="535115" algn="ctr" defTabSz="815680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itchFamily="34" charset="0"/>
        </a:defRPr>
      </a:lvl6pPr>
      <a:lvl7pPr marL="1070230" algn="ctr" defTabSz="815680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itchFamily="34" charset="0"/>
        </a:defRPr>
      </a:lvl7pPr>
      <a:lvl8pPr marL="1605346" algn="ctr" defTabSz="815680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itchFamily="34" charset="0"/>
        </a:defRPr>
      </a:lvl8pPr>
      <a:lvl9pPr marL="2140462" algn="ctr" defTabSz="815680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itchFamily="34" charset="0"/>
        </a:defRPr>
      </a:lvl9pPr>
    </p:titleStyle>
    <p:bodyStyle>
      <a:lvl1pPr marL="304719" indent="-304719" algn="l" defTabSz="81568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61462" indent="-254553" algn="l" defTabSz="81568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020063" indent="-202527" algn="l" defTabSz="81568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426974" indent="-202527" algn="l" defTabSz="81568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5743" indent="-202527" algn="l" defTabSz="81568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4435" indent="-204039" algn="l" defTabSz="81615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52513" indent="-204039" algn="l" defTabSz="81615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60592" indent="-204039" algn="l" defTabSz="81615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68670" indent="-204039" algn="l" defTabSz="81615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161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079" algn="l" defTabSz="8161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158" algn="l" defTabSz="8161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237" algn="l" defTabSz="8161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315" algn="l" defTabSz="8161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396" algn="l" defTabSz="8161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8473" algn="l" defTabSz="8161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6552" algn="l" defTabSz="8161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4631" algn="l" defTabSz="8161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102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727076" y="248841"/>
            <a:ext cx="7681913" cy="2536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/>
              <a:t>Cliquez pour modifier le style du titre</a:t>
            </a:r>
          </a:p>
        </p:txBody>
      </p:sp>
      <p:sp>
        <p:nvSpPr>
          <p:cNvPr id="1028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741364" y="1172766"/>
            <a:ext cx="7667625" cy="3357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/>
              <a:t>Cliquez pour modifier les styles du texte du masque</a:t>
            </a:r>
          </a:p>
          <a:p>
            <a:pPr lvl="1"/>
            <a:r>
              <a:rPr lang="fr-FR" altLang="en-US"/>
              <a:t>Deuxième niveau</a:t>
            </a:r>
          </a:p>
          <a:p>
            <a:pPr lvl="2"/>
            <a:r>
              <a:rPr lang="fr-FR" altLang="en-US"/>
              <a:t>Troisième niveau</a:t>
            </a:r>
          </a:p>
          <a:p>
            <a:pPr lvl="3"/>
            <a:r>
              <a:rPr lang="fr-FR" altLang="en-US"/>
              <a:t>Quatrième niveau</a:t>
            </a:r>
          </a:p>
          <a:p>
            <a:pPr lvl="4"/>
            <a:r>
              <a:rPr lang="fr-FR" altLang="en-US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23889" y="4883944"/>
            <a:ext cx="2859087" cy="16073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defTabSz="913974" fontAlgn="auto">
              <a:spcBef>
                <a:spcPts val="0"/>
              </a:spcBef>
              <a:spcAft>
                <a:spcPts val="0"/>
              </a:spcAft>
              <a:defRPr sz="800" dirty="0">
                <a:solidFill>
                  <a:srgbClr val="004563"/>
                </a:solidFill>
                <a:latin typeface="Century Gothic" pitchFamily="34" charset="0"/>
                <a:cs typeface="Arial" pitchFamily="34" charset="0"/>
              </a:defRPr>
            </a:lvl1pPr>
          </a:lstStyle>
          <a:p>
            <a:pPr eaLnBrk="1" hangingPunct="1">
              <a:defRPr/>
            </a:pPr>
            <a:endParaRPr lang="fr-FR">
              <a:ea typeface="ＭＳ Ｐゴシック" pitchFamily="34" charset="-128"/>
            </a:endParaRPr>
          </a:p>
        </p:txBody>
      </p:sp>
      <p:cxnSp>
        <p:nvCxnSpPr>
          <p:cNvPr id="9" name="Connecteur droit 8"/>
          <p:cNvCxnSpPr/>
          <p:nvPr/>
        </p:nvCxnSpPr>
        <p:spPr>
          <a:xfrm>
            <a:off x="266701" y="4858941"/>
            <a:ext cx="798513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1" name="Groupe 10"/>
          <p:cNvGrpSpPr>
            <a:grpSpLocks noChangeAspect="1"/>
          </p:cNvGrpSpPr>
          <p:nvPr/>
        </p:nvGrpSpPr>
        <p:grpSpPr bwMode="auto">
          <a:xfrm>
            <a:off x="8634414" y="4854179"/>
            <a:ext cx="263525" cy="196453"/>
            <a:chOff x="2654300" y="1511300"/>
            <a:chExt cx="3835401" cy="3835400"/>
          </a:xfrm>
        </p:grpSpPr>
        <p:sp>
          <p:nvSpPr>
            <p:cNvPr id="1036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1281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fr-FR" altLang="en-US" sz="1800">
                <a:solidFill>
                  <a:srgbClr val="000000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4803041" y="1511300"/>
              <a:ext cx="1686660" cy="1906081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397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800" dirty="0">
                <a:solidFill>
                  <a:prstClr val="black"/>
                </a:solidFill>
                <a:latin typeface="Century Gothic" pitchFamily="34" charset="0"/>
                <a:ea typeface="ＭＳ Ｐゴシック" pitchFamily="34" charset="-128"/>
              </a:endParaRPr>
            </a:p>
          </p:txBody>
        </p:sp>
        <p:sp>
          <p:nvSpPr>
            <p:cNvPr id="1038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>
                <a:gd name="T0" fmla="*/ 283 w 283"/>
                <a:gd name="T1" fmla="*/ 126 h 126"/>
                <a:gd name="T2" fmla="*/ 250 w 283"/>
                <a:gd name="T3" fmla="*/ 115 h 126"/>
                <a:gd name="T4" fmla="*/ 186 w 283"/>
                <a:gd name="T5" fmla="*/ 72 h 126"/>
                <a:gd name="T6" fmla="*/ 188 w 283"/>
                <a:gd name="T7" fmla="*/ 115 h 126"/>
                <a:gd name="T8" fmla="*/ 163 w 283"/>
                <a:gd name="T9" fmla="*/ 126 h 126"/>
                <a:gd name="T10" fmla="*/ 159 w 283"/>
                <a:gd name="T11" fmla="*/ 110 h 126"/>
                <a:gd name="T12" fmla="*/ 147 w 283"/>
                <a:gd name="T13" fmla="*/ 126 h 126"/>
                <a:gd name="T14" fmla="*/ 122 w 283"/>
                <a:gd name="T15" fmla="*/ 120 h 126"/>
                <a:gd name="T16" fmla="*/ 110 w 283"/>
                <a:gd name="T17" fmla="*/ 121 h 126"/>
                <a:gd name="T18" fmla="*/ 84 w 283"/>
                <a:gd name="T19" fmla="*/ 126 h 126"/>
                <a:gd name="T20" fmla="*/ 111 w 283"/>
                <a:gd name="T21" fmla="*/ 93 h 126"/>
                <a:gd name="T22" fmla="*/ 55 w 283"/>
                <a:gd name="T23" fmla="*/ 72 h 126"/>
                <a:gd name="T24" fmla="*/ 15 w 283"/>
                <a:gd name="T25" fmla="*/ 126 h 126"/>
                <a:gd name="T26" fmla="*/ 0 w 283"/>
                <a:gd name="T27" fmla="*/ 117 h 126"/>
                <a:gd name="T28" fmla="*/ 42 w 283"/>
                <a:gd name="T29" fmla="*/ 63 h 126"/>
                <a:gd name="T30" fmla="*/ 87 w 283"/>
                <a:gd name="T31" fmla="*/ 0 h 126"/>
                <a:gd name="T32" fmla="*/ 114 w 283"/>
                <a:gd name="T33" fmla="*/ 12 h 126"/>
                <a:gd name="T34" fmla="*/ 140 w 283"/>
                <a:gd name="T35" fmla="*/ 56 h 126"/>
                <a:gd name="T36" fmla="*/ 120 w 283"/>
                <a:gd name="T37" fmla="*/ 0 h 126"/>
                <a:gd name="T38" fmla="*/ 152 w 283"/>
                <a:gd name="T39" fmla="*/ 8 h 126"/>
                <a:gd name="T40" fmla="*/ 182 w 283"/>
                <a:gd name="T41" fmla="*/ 7 h 126"/>
                <a:gd name="T42" fmla="*/ 210 w 283"/>
                <a:gd name="T43" fmla="*/ 0 h 126"/>
                <a:gd name="T44" fmla="*/ 167 w 283"/>
                <a:gd name="T45" fmla="*/ 51 h 126"/>
                <a:gd name="T46" fmla="*/ 171 w 283"/>
                <a:gd name="T47" fmla="*/ 65 h 126"/>
                <a:gd name="T48" fmla="*/ 213 w 283"/>
                <a:gd name="T49" fmla="*/ 9 h 126"/>
                <a:gd name="T50" fmla="*/ 243 w 283"/>
                <a:gd name="T51" fmla="*/ 0 h 126"/>
                <a:gd name="T52" fmla="*/ 260 w 283"/>
                <a:gd name="T53" fmla="*/ 63 h 126"/>
                <a:gd name="T54" fmla="*/ 197 w 283"/>
                <a:gd name="T55" fmla="*/ 58 h 126"/>
                <a:gd name="T56" fmla="*/ 224 w 283"/>
                <a:gd name="T57" fmla="*/ 33 h 126"/>
                <a:gd name="T58" fmla="*/ 222 w 283"/>
                <a:gd name="T59" fmla="*/ 24 h 126"/>
                <a:gd name="T60" fmla="*/ 67 w 283"/>
                <a:gd name="T61" fmla="*/ 58 h 126"/>
                <a:gd name="T62" fmla="*/ 93 w 283"/>
                <a:gd name="T63" fmla="*/ 33 h 126"/>
                <a:gd name="T64" fmla="*/ 92 w 283"/>
                <a:gd name="T65" fmla="*/ 24 h 126"/>
                <a:gd name="T66" fmla="*/ 152 w 283"/>
                <a:gd name="T67" fmla="*/ 90 h 126"/>
                <a:gd name="T68" fmla="*/ 137 w 283"/>
                <a:gd name="T69" fmla="*/ 85 h 12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eaLnBrk="1" hangingPunct="1"/>
              <a:endParaRPr lang="en-GB" sz="1800">
                <a:solidFill>
                  <a:prstClr val="black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5" name="Parallélogramme 14"/>
          <p:cNvSpPr>
            <a:spLocks noChangeAspect="1"/>
          </p:cNvSpPr>
          <p:nvPr/>
        </p:nvSpPr>
        <p:spPr>
          <a:xfrm>
            <a:off x="233364" y="-11906"/>
            <a:ext cx="695325" cy="564356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8" rIns="91397" bIns="45698" anchor="ctr"/>
          <a:lstStyle/>
          <a:p>
            <a:pPr algn="ctr" defTabSz="91397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727076" y="551260"/>
            <a:ext cx="7681913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numéro de diapositive 17"/>
          <p:cNvSpPr>
            <a:spLocks noGrp="1"/>
          </p:cNvSpPr>
          <p:nvPr>
            <p:ph type="sldNum" sz="quarter" idx="4"/>
          </p:nvPr>
        </p:nvSpPr>
        <p:spPr>
          <a:xfrm>
            <a:off x="53976" y="4881563"/>
            <a:ext cx="487363" cy="16073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defTabSz="913974" fontAlgn="auto">
              <a:spcBef>
                <a:spcPts val="0"/>
              </a:spcBef>
              <a:spcAft>
                <a:spcPts val="0"/>
              </a:spcAft>
              <a:defRPr sz="800" smtClean="0">
                <a:solidFill>
                  <a:srgbClr val="004563"/>
                </a:solidFill>
                <a:latin typeface="Century Gothic" pitchFamily="34" charset="0"/>
                <a:cs typeface="+mn-cs"/>
              </a:defRPr>
            </a:lvl1pPr>
          </a:lstStyle>
          <a:p>
            <a:pPr eaLnBrk="1" hangingPunct="1">
              <a:defRPr/>
            </a:pPr>
            <a:fld id="{2D4125CC-CD77-4FDE-8B93-3A66D55691F3}" type="slidenum">
              <a:rPr lang="fr-FR">
                <a:ea typeface="ＭＳ Ｐゴシック" pitchFamily="34" charset="-128"/>
              </a:rPr>
              <a:pPr eaLnBrk="1" hangingPunct="1">
                <a:defRPr/>
              </a:pPr>
              <a:t>‹#›</a:t>
            </a:fld>
            <a:r>
              <a:rPr lang="fr-FR" dirty="0">
                <a:ea typeface="ＭＳ Ｐゴシック" pitchFamily="34" charset="-128"/>
              </a:rPr>
              <a:t>   |  </a:t>
            </a:r>
          </a:p>
        </p:txBody>
      </p:sp>
      <p:sp>
        <p:nvSpPr>
          <p:cNvPr id="21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81563"/>
            <a:ext cx="2133600" cy="163116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 defTabSz="913974" fontAlgn="auto">
              <a:spcBef>
                <a:spcPts val="0"/>
              </a:spcBef>
              <a:spcAft>
                <a:spcPts val="0"/>
              </a:spcAft>
              <a:defRPr sz="800" b="1" smtClean="0">
                <a:solidFill>
                  <a:srgbClr val="E40A38"/>
                </a:solidFill>
                <a:latin typeface="+mj-lt"/>
                <a:cs typeface="+mn-cs"/>
              </a:defRPr>
            </a:lvl1pPr>
          </a:lstStyle>
          <a:p>
            <a:pPr eaLnBrk="1" hangingPunct="1">
              <a:defRPr/>
            </a:pPr>
            <a:r>
              <a:rPr lang="en-US">
                <a:ea typeface="ＭＳ Ｐゴシック" pitchFamily="34" charset="-128"/>
              </a:rPr>
              <a:t>IT Deep Dive l September 2018</a:t>
            </a:r>
            <a:endParaRPr lang="fr-FR" dirty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20141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  <p:sldLayoutId id="2147483917" r:id="rId6"/>
    <p:sldLayoutId id="2147483918" r:id="rId7"/>
    <p:sldLayoutId id="2147483919" r:id="rId8"/>
    <p:sldLayoutId id="2147483920" r:id="rId9"/>
    <p:sldLayoutId id="2147483921" r:id="rId10"/>
    <p:sldLayoutId id="2147483922" r:id="rId11"/>
    <p:sldLayoutId id="2147483923" r:id="rId12"/>
    <p:sldLayoutId id="2147483924" r:id="rId13"/>
    <p:sldLayoutId id="2147483925" r:id="rId14"/>
    <p:sldLayoutId id="2147483926" r:id="rId15"/>
    <p:sldLayoutId id="2147483927" r:id="rId16"/>
    <p:sldLayoutId id="2147483930" r:id="rId17"/>
  </p:sldLayoutIdLst>
  <p:transition>
    <p:fade/>
  </p:transition>
  <p:hf sldNum="0" hdr="0"/>
  <p:txStyles>
    <p:titleStyle>
      <a:lvl1pPr algn="l" defTabSz="455613" rtl="0" fontAlgn="base">
        <a:spcBef>
          <a:spcPct val="0"/>
        </a:spcBef>
        <a:spcAft>
          <a:spcPct val="0"/>
        </a:spcAft>
        <a:defRPr sz="20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  <a:lvl2pPr algn="l" defTabSz="455613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entury Gothic" pitchFamily="34" charset="0"/>
        </a:defRPr>
      </a:lvl2pPr>
      <a:lvl3pPr algn="l" defTabSz="455613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entury Gothic" pitchFamily="34" charset="0"/>
        </a:defRPr>
      </a:lvl3pPr>
      <a:lvl4pPr algn="l" defTabSz="455613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entury Gothic" pitchFamily="34" charset="0"/>
        </a:defRPr>
      </a:lvl4pPr>
      <a:lvl5pPr algn="l" defTabSz="455613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entury Gothic" pitchFamily="34" charset="0"/>
        </a:defRPr>
      </a:lvl5pPr>
      <a:lvl6pPr marL="457200" algn="l" defTabSz="455613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entury Gothic" pitchFamily="34" charset="0"/>
        </a:defRPr>
      </a:lvl6pPr>
      <a:lvl7pPr marL="914400" algn="l" defTabSz="455613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entury Gothic" pitchFamily="34" charset="0"/>
        </a:defRPr>
      </a:lvl7pPr>
      <a:lvl8pPr marL="1371600" algn="l" defTabSz="455613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entury Gothic" pitchFamily="34" charset="0"/>
        </a:defRPr>
      </a:lvl8pPr>
      <a:lvl9pPr marL="1828800" algn="l" defTabSz="455613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entury Gothic" pitchFamily="34" charset="0"/>
        </a:defRPr>
      </a:lvl9pPr>
    </p:titleStyle>
    <p:bodyStyle>
      <a:lvl1pPr marL="341313" indent="-341313" algn="l" defTabSz="455613" rtl="0" fontAlgn="base">
        <a:spcBef>
          <a:spcPct val="20000"/>
        </a:spcBef>
        <a:spcAft>
          <a:spcPct val="0"/>
        </a:spcAft>
        <a:buBlip>
          <a:blip r:embed="rId23"/>
        </a:buBlip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0363" algn="l" defTabSz="455613" rtl="0" fontAlgn="base">
        <a:spcBef>
          <a:spcPct val="20000"/>
        </a:spcBef>
        <a:spcAft>
          <a:spcPct val="0"/>
        </a:spcAft>
        <a:buFont typeface="Arial" charset="0"/>
        <a:defRPr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28650" indent="-266700" algn="l" defTabSz="455613" rtl="0" fontAlgn="base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28650" algn="l" defTabSz="455613" rtl="0" fontAlgn="base">
        <a:spcBef>
          <a:spcPct val="20000"/>
        </a:spcBef>
        <a:spcAft>
          <a:spcPct val="0"/>
        </a:spcAft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0100" indent="-169863" algn="l" defTabSz="455613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­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3431" indent="-228493" algn="l" defTabSz="45698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18" indent="-228493" algn="l" defTabSz="45698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06" indent="-228493" algn="l" defTabSz="45698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391" indent="-228493" algn="l" defTabSz="45698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69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88" algn="l" defTabSz="4569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74" algn="l" defTabSz="4569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2" algn="l" defTabSz="4569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49" algn="l" defTabSz="4569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38" algn="l" defTabSz="4569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23" algn="l" defTabSz="4569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11" algn="l" defTabSz="4569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897" algn="l" defTabSz="4569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727696" y="248761"/>
            <a:ext cx="7681293" cy="25360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41869" y="1172250"/>
            <a:ext cx="7667119" cy="335807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24390" y="4883832"/>
            <a:ext cx="2858550" cy="1610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2"/>
                </a:solidFill>
                <a:latin typeface="Century Gothic" pitchFamily="34" charset="0"/>
                <a:cs typeface="Arial" pitchFamily="34" charset="0"/>
              </a:defRPr>
            </a:lvl1pPr>
          </a:lstStyle>
          <a:p>
            <a:r>
              <a:rPr lang="fr-FR"/>
              <a:t>Title, Owner, Date</a:t>
            </a:r>
            <a:endParaRPr lang="fr-FR" dirty="0"/>
          </a:p>
        </p:txBody>
      </p:sp>
      <p:cxnSp>
        <p:nvCxnSpPr>
          <p:cNvPr id="9" name="Connecteur droit 8"/>
          <p:cNvCxnSpPr/>
          <p:nvPr/>
        </p:nvCxnSpPr>
        <p:spPr>
          <a:xfrm>
            <a:off x="266700" y="4858782"/>
            <a:ext cx="7992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233889" y="-11511"/>
            <a:ext cx="694268" cy="564524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/>
          </a:p>
        </p:txBody>
      </p:sp>
      <p:cxnSp>
        <p:nvCxnSpPr>
          <p:cNvPr id="16" name="Connecteur droit 15"/>
          <p:cNvCxnSpPr/>
          <p:nvPr/>
        </p:nvCxnSpPr>
        <p:spPr>
          <a:xfrm>
            <a:off x="727696" y="551606"/>
            <a:ext cx="7681293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numéro de diapositive 17"/>
          <p:cNvSpPr>
            <a:spLocks noGrp="1"/>
          </p:cNvSpPr>
          <p:nvPr>
            <p:ph type="sldNum" sz="quarter" idx="4"/>
          </p:nvPr>
        </p:nvSpPr>
        <p:spPr>
          <a:xfrm>
            <a:off x="54421" y="4881563"/>
            <a:ext cx="487090" cy="1610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6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3801209A-EBCB-4229-9A21-B7869465F47A}" type="slidenum">
              <a:rPr lang="fr-FR" smtClean="0"/>
              <a:pPr/>
              <a:t>‹#›</a:t>
            </a:fld>
            <a:r>
              <a:rPr lang="fr-FR" dirty="0"/>
              <a:t>   |  </a:t>
            </a:r>
          </a:p>
        </p:txBody>
      </p:sp>
      <p:sp>
        <p:nvSpPr>
          <p:cNvPr id="21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81563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de-DE" dirty="0" err="1"/>
              <a:t>Confidential</a:t>
            </a:r>
            <a:r>
              <a:rPr lang="de-DE" dirty="0"/>
              <a:t> / Internal</a:t>
            </a:r>
            <a:endParaRPr lang="fr-FR" dirty="0"/>
          </a:p>
        </p:txBody>
      </p:sp>
      <p:pic>
        <p:nvPicPr>
          <p:cNvPr id="11" name="Picture 12" descr="stan_d_p_rgb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289" y="4769644"/>
            <a:ext cx="1546225" cy="232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2100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7" r:id="rId6"/>
    <p:sldLayoutId id="2147484008" r:id="rId7"/>
    <p:sldLayoutId id="2147484009" r:id="rId8"/>
    <p:sldLayoutId id="2147484010" r:id="rId9"/>
    <p:sldLayoutId id="2147484011" r:id="rId10"/>
    <p:sldLayoutId id="2147484012" r:id="rId11"/>
    <p:sldLayoutId id="2147484013" r:id="rId12"/>
    <p:sldLayoutId id="2147484014" r:id="rId13"/>
    <p:sldLayoutId id="2147484015" r:id="rId14"/>
  </p:sldLayoutIdLst>
  <p:transition>
    <p:fade/>
  </p:transition>
  <p:hf hdr="0"/>
  <p:txStyles>
    <p:titleStyle>
      <a:lvl1pPr algn="l" defTabSz="342900" rtl="0" eaLnBrk="1" latinLnBrk="0" hangingPunct="1">
        <a:spcBef>
          <a:spcPct val="0"/>
        </a:spcBef>
        <a:buNone/>
        <a:defRPr sz="15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Tx/>
        <a:buBlip>
          <a:blip r:embed="rId17"/>
        </a:buBlip>
        <a:defRPr sz="13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71463" indent="0" algn="l" defTabSz="342900" rtl="0" eaLnBrk="1" latinLnBrk="0" hangingPunct="1">
        <a:spcBef>
          <a:spcPct val="20000"/>
        </a:spcBef>
        <a:buFont typeface="Arial"/>
        <a:buNone/>
        <a:defRPr sz="135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2679" indent="-201216" algn="l" defTabSz="3429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72679" indent="0" algn="l" defTabSz="3429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01266" indent="-128588" algn="l" defTabSz="3429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0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727696" y="248762"/>
            <a:ext cx="7681293" cy="25360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41869" y="1172251"/>
            <a:ext cx="7667119" cy="335807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24390" y="4883833"/>
            <a:ext cx="2858550" cy="1610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2"/>
                </a:solidFill>
                <a:latin typeface="Century Gothic" pitchFamily="34" charset="0"/>
                <a:cs typeface="Arial" pitchFamily="34" charset="0"/>
              </a:defRPr>
            </a:lvl1pPr>
          </a:lstStyle>
          <a:p>
            <a:r>
              <a:rPr lang="en-US">
                <a:solidFill>
                  <a:srgbClr val="004563"/>
                </a:solidFill>
              </a:rPr>
              <a:t>Status update on "Access Rights"</a:t>
            </a:r>
            <a:endParaRPr lang="fr-FR" dirty="0">
              <a:solidFill>
                <a:srgbClr val="004563"/>
              </a:solidFill>
            </a:endParaRPr>
          </a:p>
        </p:txBody>
      </p:sp>
      <p:cxnSp>
        <p:nvCxnSpPr>
          <p:cNvPr id="9" name="Connecteur droit 8"/>
          <p:cNvCxnSpPr/>
          <p:nvPr/>
        </p:nvCxnSpPr>
        <p:spPr>
          <a:xfrm>
            <a:off x="266700" y="4858782"/>
            <a:ext cx="7992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e 10"/>
          <p:cNvGrpSpPr>
            <a:grpSpLocks noChangeAspect="1"/>
          </p:cNvGrpSpPr>
          <p:nvPr/>
        </p:nvGrpSpPr>
        <p:grpSpPr>
          <a:xfrm>
            <a:off x="8635191" y="4853595"/>
            <a:ext cx="262800" cy="197100"/>
            <a:chOff x="2654300" y="1511300"/>
            <a:chExt cx="3835401" cy="3835400"/>
          </a:xfrm>
        </p:grpSpPr>
        <p:sp>
          <p:nvSpPr>
            <p:cNvPr id="12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350" dirty="0">
                <a:solidFill>
                  <a:prstClr val="black"/>
                </a:solidFill>
                <a:latin typeface="Century Gothic" pitchFamily="34" charset="0"/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4808538" y="1511300"/>
              <a:ext cx="1681163" cy="1895475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350" dirty="0">
                <a:solidFill>
                  <a:prstClr val="black"/>
                </a:solidFill>
                <a:latin typeface="Century Gothic" pitchFamily="34" charset="0"/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/>
              <a:ahLst/>
              <a:cxnLst>
                <a:cxn ang="0">
                  <a:pos x="283" y="126"/>
                </a:cxn>
                <a:cxn ang="0">
                  <a:pos x="250" y="115"/>
                </a:cxn>
                <a:cxn ang="0">
                  <a:pos x="186" y="72"/>
                </a:cxn>
                <a:cxn ang="0">
                  <a:pos x="188" y="115"/>
                </a:cxn>
                <a:cxn ang="0">
                  <a:pos x="163" y="126"/>
                </a:cxn>
                <a:cxn ang="0">
                  <a:pos x="159" y="110"/>
                </a:cxn>
                <a:cxn ang="0">
                  <a:pos x="147" y="126"/>
                </a:cxn>
                <a:cxn ang="0">
                  <a:pos x="122" y="120"/>
                </a:cxn>
                <a:cxn ang="0">
                  <a:pos x="110" y="121"/>
                </a:cxn>
                <a:cxn ang="0">
                  <a:pos x="84" y="126"/>
                </a:cxn>
                <a:cxn ang="0">
                  <a:pos x="111" y="93"/>
                </a:cxn>
                <a:cxn ang="0">
                  <a:pos x="55" y="72"/>
                </a:cxn>
                <a:cxn ang="0">
                  <a:pos x="15" y="126"/>
                </a:cxn>
                <a:cxn ang="0">
                  <a:pos x="0" y="117"/>
                </a:cxn>
                <a:cxn ang="0">
                  <a:pos x="42" y="63"/>
                </a:cxn>
                <a:cxn ang="0">
                  <a:pos x="87" y="0"/>
                </a:cxn>
                <a:cxn ang="0">
                  <a:pos x="114" y="12"/>
                </a:cxn>
                <a:cxn ang="0">
                  <a:pos x="140" y="56"/>
                </a:cxn>
                <a:cxn ang="0">
                  <a:pos x="120" y="0"/>
                </a:cxn>
                <a:cxn ang="0">
                  <a:pos x="152" y="8"/>
                </a:cxn>
                <a:cxn ang="0">
                  <a:pos x="182" y="7"/>
                </a:cxn>
                <a:cxn ang="0">
                  <a:pos x="210" y="0"/>
                </a:cxn>
                <a:cxn ang="0">
                  <a:pos x="167" y="51"/>
                </a:cxn>
                <a:cxn ang="0">
                  <a:pos x="171" y="65"/>
                </a:cxn>
                <a:cxn ang="0">
                  <a:pos x="213" y="9"/>
                </a:cxn>
                <a:cxn ang="0">
                  <a:pos x="243" y="0"/>
                </a:cxn>
                <a:cxn ang="0">
                  <a:pos x="260" y="63"/>
                </a:cxn>
                <a:cxn ang="0">
                  <a:pos x="197" y="58"/>
                </a:cxn>
                <a:cxn ang="0">
                  <a:pos x="224" y="33"/>
                </a:cxn>
                <a:cxn ang="0">
                  <a:pos x="222" y="24"/>
                </a:cxn>
                <a:cxn ang="0">
                  <a:pos x="67" y="58"/>
                </a:cxn>
                <a:cxn ang="0">
                  <a:pos x="93" y="33"/>
                </a:cxn>
                <a:cxn ang="0">
                  <a:pos x="92" y="24"/>
                </a:cxn>
                <a:cxn ang="0">
                  <a:pos x="152" y="90"/>
                </a:cxn>
                <a:cxn ang="0">
                  <a:pos x="137" y="85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350" dirty="0">
                <a:solidFill>
                  <a:prstClr val="black"/>
                </a:solidFill>
                <a:latin typeface="Century Gothic" pitchFamily="34" charset="0"/>
              </a:endParaRPr>
            </a:p>
          </p:txBody>
        </p:sp>
      </p:grpSp>
      <p:sp>
        <p:nvSpPr>
          <p:cNvPr id="15" name="Parallélogramme 14"/>
          <p:cNvSpPr>
            <a:spLocks noChangeAspect="1"/>
          </p:cNvSpPr>
          <p:nvPr/>
        </p:nvSpPr>
        <p:spPr>
          <a:xfrm>
            <a:off x="233890" y="-11511"/>
            <a:ext cx="694268" cy="564524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727696" y="551606"/>
            <a:ext cx="7681293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numéro de diapositive 17"/>
          <p:cNvSpPr>
            <a:spLocks noGrp="1"/>
          </p:cNvSpPr>
          <p:nvPr>
            <p:ph type="sldNum" sz="quarter" idx="4"/>
          </p:nvPr>
        </p:nvSpPr>
        <p:spPr>
          <a:xfrm>
            <a:off x="54421" y="4881564"/>
            <a:ext cx="487090" cy="1610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6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21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4881564"/>
            <a:ext cx="2133600" cy="1633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>
                <a:solidFill>
                  <a:srgbClr val="E40A38"/>
                </a:solidFill>
              </a:rPr>
              <a:t>CONFIDENTIAL</a:t>
            </a:r>
            <a:endParaRPr lang="fr-FR" dirty="0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679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0" r:id="rId1"/>
    <p:sldLayoutId id="2147484041" r:id="rId2"/>
    <p:sldLayoutId id="2147484042" r:id="rId3"/>
    <p:sldLayoutId id="2147484043" r:id="rId4"/>
    <p:sldLayoutId id="2147484044" r:id="rId5"/>
    <p:sldLayoutId id="2147484045" r:id="rId6"/>
    <p:sldLayoutId id="2147484046" r:id="rId7"/>
    <p:sldLayoutId id="2147484047" r:id="rId8"/>
    <p:sldLayoutId id="2147484048" r:id="rId9"/>
    <p:sldLayoutId id="2147484049" r:id="rId10"/>
    <p:sldLayoutId id="2147484050" r:id="rId11"/>
    <p:sldLayoutId id="2147484051" r:id="rId12"/>
    <p:sldLayoutId id="2147484052" r:id="rId13"/>
    <p:sldLayoutId id="2147484053" r:id="rId14"/>
  </p:sldLayoutIdLst>
  <p:transition>
    <p:fade/>
  </p:transition>
  <p:hf hdr="0"/>
  <p:txStyles>
    <p:titleStyle>
      <a:lvl1pPr algn="l" defTabSz="342900" rtl="0" eaLnBrk="1" latinLnBrk="0" hangingPunct="1">
        <a:spcBef>
          <a:spcPct val="0"/>
        </a:spcBef>
        <a:buNone/>
        <a:defRPr sz="15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Tx/>
        <a:buBlip>
          <a:blip r:embed="rId16"/>
        </a:buBlip>
        <a:defRPr sz="13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71463" indent="0" algn="l" defTabSz="342900" rtl="0" eaLnBrk="1" latinLnBrk="0" hangingPunct="1">
        <a:spcBef>
          <a:spcPct val="20000"/>
        </a:spcBef>
        <a:buFont typeface="Arial"/>
        <a:buNone/>
        <a:defRPr sz="135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2679" indent="-201216" algn="l" defTabSz="3429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72679" indent="0" algn="l" defTabSz="3429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01266" indent="-128588" algn="l" defTabSz="3429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0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3"/>
          <p:cNvSpPr>
            <a:spLocks noGrp="1"/>
          </p:cNvSpPr>
          <p:nvPr>
            <p:ph type="title"/>
          </p:nvPr>
        </p:nvSpPr>
        <p:spPr>
          <a:xfrm>
            <a:off x="395536" y="1347614"/>
            <a:ext cx="8632554" cy="2960638"/>
          </a:xfrm>
        </p:spPr>
        <p:txBody>
          <a:bodyPr/>
          <a:lstStyle/>
          <a:p>
            <a:pPr algn="r"/>
            <a:r>
              <a:rPr lang="nl-BE" sz="4000" dirty="0"/>
              <a:t>				Job </a:t>
            </a:r>
            <a:r>
              <a:rPr lang="nl-BE" sz="4000" dirty="0" err="1"/>
              <a:t>Selection</a:t>
            </a:r>
            <a:br>
              <a:rPr lang="nl-BE" sz="4000" dirty="0"/>
            </a:br>
            <a:r>
              <a:rPr lang="nl-BE" sz="4000" dirty="0"/>
              <a:t>Hackathon game</a:t>
            </a:r>
            <a:br>
              <a:rPr lang="nl-BE" sz="4000" dirty="0"/>
            </a:br>
            <a:br>
              <a:rPr lang="nl-BE" sz="4000" dirty="0"/>
            </a:br>
            <a:br>
              <a:rPr lang="nl-BE" sz="2400" i="1" dirty="0"/>
            </a:br>
            <a:br>
              <a:rPr lang="nl-BE" sz="4000" dirty="0"/>
            </a:br>
            <a:br>
              <a:rPr lang="nl-BE" sz="4000" dirty="0"/>
            </a:br>
            <a:endParaRPr lang="en-US" sz="4000" dirty="0"/>
          </a:p>
        </p:txBody>
      </p:sp>
      <p:sp>
        <p:nvSpPr>
          <p:cNvPr id="9" name="Sous-titre 4"/>
          <p:cNvSpPr>
            <a:spLocks noGrp="1"/>
          </p:cNvSpPr>
          <p:nvPr>
            <p:ph type="subTitle" idx="1"/>
          </p:nvPr>
        </p:nvSpPr>
        <p:spPr>
          <a:xfrm>
            <a:off x="6258690" y="4761160"/>
            <a:ext cx="2696400" cy="262020"/>
          </a:xfrm>
        </p:spPr>
        <p:txBody>
          <a:bodyPr/>
          <a:lstStyle/>
          <a:p>
            <a:r>
              <a:rPr lang="en-US" dirty="0"/>
              <a:t>27/03/2019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B8201D-3458-4DC7-A768-C563390B75A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58689" y="4308252"/>
            <a:ext cx="2448694" cy="264600"/>
          </a:xfrm>
        </p:spPr>
        <p:txBody>
          <a:bodyPr/>
          <a:lstStyle/>
          <a:p>
            <a:pPr algn="ctr"/>
            <a:r>
              <a:rPr lang="en-GB" dirty="0"/>
              <a:t>IT Graduates Community</a:t>
            </a:r>
          </a:p>
        </p:txBody>
      </p:sp>
    </p:spTree>
    <p:extLst>
      <p:ext uri="{BB962C8B-B14F-4D97-AF65-F5344CB8AC3E}">
        <p14:creationId xmlns:p14="http://schemas.microsoft.com/office/powerpoint/2010/main" val="25435144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03B9E-932D-4EDC-A178-4A2871F052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it about?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806E50-7853-49A9-BEF0-AAFEC0E804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BFE810-DAD7-4611-92AB-9258A10B104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93083B-2AA7-48AB-93AB-FC6196EBEA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Job Selection Hackathon Game l March 2019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1A1215-E5C2-4EEC-9D69-C45A062D26C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A187F29-4D0B-4EA3-8BA8-20363BE400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419" y="1106001"/>
            <a:ext cx="2009776" cy="72866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8532025-B961-4DB8-9A7A-E09B580D27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8265" y="3880845"/>
            <a:ext cx="995159" cy="11312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138F0C2-F77D-469F-A627-51BC3EC9D8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0005" y="3663997"/>
            <a:ext cx="2599267" cy="74700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1A8F468-2912-47B5-A634-93E26CF0918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22450" y="3225383"/>
            <a:ext cx="1142466" cy="115037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FB3DD71-01AB-4313-BB35-699C5D82D2B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850" y="2115421"/>
            <a:ext cx="1239519" cy="145508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E05BC46-4DE7-4394-B21B-B515FAE3F17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6215" y="2609754"/>
            <a:ext cx="1111198" cy="111119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668CFD9-E90F-4DC7-AFCF-811C569D4B3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45149" y="1486336"/>
            <a:ext cx="1517001" cy="91480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6A87CE7-72C1-4473-8E40-35DA63C4A35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78861" y="2561089"/>
            <a:ext cx="2351652" cy="62303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02E2335-FE0D-47A5-A60B-2B878495C4E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24387" y="3404831"/>
            <a:ext cx="1669222" cy="4760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BE5F063-EEBE-41B0-BEC0-675C56FC2E2F}"/>
              </a:ext>
            </a:extLst>
          </p:cNvPr>
          <p:cNvSpPr txBox="1"/>
          <p:nvPr/>
        </p:nvSpPr>
        <p:spPr bwMode="auto">
          <a:xfrm>
            <a:off x="4771200" y="2689077"/>
            <a:ext cx="114156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b">
            <a:spAutoFit/>
          </a:bodyPr>
          <a:lstStyle/>
          <a:p>
            <a:pPr eaLnBrk="1" hangingPunct="1"/>
            <a:r>
              <a:rPr lang="en-US" sz="2000" dirty="0">
                <a:solidFill>
                  <a:srgbClr val="404040"/>
                </a:solidFill>
                <a:cs typeface="Calibri" panose="020F0502020204030204" pitchFamily="34" charset="0"/>
              </a:rPr>
              <a:t>…</a:t>
            </a:r>
            <a:endParaRPr lang="en-GB" sz="2000" dirty="0" err="1">
              <a:solidFill>
                <a:srgbClr val="404040"/>
              </a:solidFill>
              <a:cs typeface="Calibri" panose="020F050202020403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8DC2F47-B7AA-451F-8B02-A13C0B2DB1C6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6743" y="3951856"/>
            <a:ext cx="1669222" cy="83461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423C63C-E7AF-49BD-9CFF-F32CD37EDCC0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1698" y="1204759"/>
            <a:ext cx="2648291" cy="1295014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FDF268E8-B762-4CEE-9A3B-83A59A7C8763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1928" y="928261"/>
            <a:ext cx="1211242" cy="1206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5969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7914FF-BDF3-47AA-9E6E-DA0EE6400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tabLst>
                <a:tab pos="8431213" algn="r"/>
              </a:tabLst>
            </a:pPr>
            <a:r>
              <a:rPr lang="en-US" sz="2000" dirty="0"/>
              <a:t>Get to know your team</a:t>
            </a:r>
            <a:endParaRPr lang="en-GB" sz="2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BD46C6-60BC-4672-BD2E-72CC100B9C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sz="12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5C05EB-1E4D-4E17-A2EF-E7FB6CCA96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What is the team name?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Who is who in the team?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Who is taking up what role in the team?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Who will serve the Application &amp; APIs of the team? </a:t>
            </a:r>
          </a:p>
          <a:p>
            <a:pPr>
              <a:buFont typeface="Wingdings" panose="05000000000000000000" pitchFamily="2" charset="2"/>
              <a:buChar char="q"/>
            </a:pPr>
            <a:endParaRPr lang="en-GB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q"/>
            </a:pP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q"/>
            </a:pPr>
            <a:endParaRPr lang="en-GB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q"/>
            </a:pPr>
            <a:endParaRPr lang="en-GB" sz="1400" dirty="0"/>
          </a:p>
          <a:p>
            <a:pPr>
              <a:buFont typeface="Wingdings" panose="05000000000000000000" pitchFamily="2" charset="2"/>
              <a:buChar char="q"/>
            </a:pPr>
            <a:endParaRPr lang="en-GB" sz="1400" dirty="0"/>
          </a:p>
          <a:p>
            <a:pPr>
              <a:buFont typeface="Wingdings" panose="05000000000000000000" pitchFamily="2" charset="2"/>
              <a:buChar char="q"/>
            </a:pPr>
            <a:endParaRPr lang="en-GB" sz="140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F6275E-3EC5-4692-9442-26F16A1E47F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dirty="0"/>
              <a:t>Job Selection Hackathon Game l March 2019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866C337-0999-4B42-AABE-6276F07F695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noProof="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19DDA37-587B-4546-8575-A5E0BD4455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2200" y="1203598"/>
            <a:ext cx="2224087" cy="107156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9AFE338-DF52-4DAF-9E7F-A5CACE5E12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7584" y="2521917"/>
            <a:ext cx="1943654" cy="200635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377B477-A34F-4E69-9521-19A5738B76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02863" y="2842570"/>
            <a:ext cx="2277118" cy="156408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F95AFEE3-C64F-44AD-9B71-CE5912BA8EE0}"/>
              </a:ext>
            </a:extLst>
          </p:cNvPr>
          <p:cNvSpPr txBox="1"/>
          <p:nvPr/>
        </p:nvSpPr>
        <p:spPr bwMode="auto">
          <a:xfrm>
            <a:off x="1907704" y="2720525"/>
            <a:ext cx="131661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b">
            <a:spAutoFit/>
          </a:bodyPr>
          <a:lstStyle/>
          <a:p>
            <a:pPr eaLnBrk="1" hangingPunct="1"/>
            <a:r>
              <a:rPr lang="en-US" sz="1600" b="1" dirty="0">
                <a:solidFill>
                  <a:srgbClr val="404040"/>
                </a:solidFill>
                <a:latin typeface="+mj-lt"/>
                <a:cs typeface="Arial" pitchFamily="34" charset="0"/>
              </a:rPr>
              <a:t>Observer</a:t>
            </a:r>
            <a:endParaRPr lang="en-GB" sz="1600" b="1" dirty="0" err="1">
              <a:solidFill>
                <a:srgbClr val="404040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69678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435DFA-0B96-45F5-BFFC-F3C951F729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 prepared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554C6D-63A5-42DA-8D1C-E3D39D75AE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CEFEE6-097B-45AF-9876-143262FFFC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u="sng" dirty="0"/>
              <a:t>Software Engineers</a:t>
            </a:r>
          </a:p>
          <a:p>
            <a:pPr marL="0" indent="0">
              <a:buNone/>
            </a:pPr>
            <a:endParaRPr lang="en-US" u="sng" dirty="0"/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Connect to LAN (WIFI Router)</a:t>
            </a:r>
          </a:p>
          <a:p>
            <a:pPr marL="0" indent="0">
              <a:buNone/>
            </a:pPr>
            <a:endParaRPr lang="en-US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Username: </a:t>
            </a:r>
            <a:r>
              <a:rPr lang="en-GB" b="1" dirty="0" err="1"/>
              <a:t>SeriousSoftwaregame</a:t>
            </a:r>
            <a:endParaRPr lang="en-US" b="1" dirty="0">
              <a:solidFill>
                <a:srgbClr val="FF0000"/>
              </a:solidFill>
            </a:endParaRP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Password:  </a:t>
            </a:r>
            <a:r>
              <a:rPr lang="en-US" b="1" dirty="0"/>
              <a:t>p984t31f</a:t>
            </a:r>
          </a:p>
          <a:p>
            <a:pPr marL="418123" lvl="1" indent="0">
              <a:buNone/>
            </a:pPr>
            <a:endParaRPr lang="en-US" b="1" dirty="0"/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Download the doc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rgbClr val="FF0000"/>
                </a:solidFill>
              </a:rPr>
              <a:t>https://github.com/AxaSelectionDay/SoftwareGam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u="sng" dirty="0"/>
              <a:t>Business Analysts</a:t>
            </a:r>
          </a:p>
          <a:p>
            <a:pPr marL="0" indent="0">
              <a:buNone/>
            </a:pPr>
            <a:endParaRPr lang="en-US" u="sng" dirty="0"/>
          </a:p>
          <a:p>
            <a:pPr>
              <a:buFont typeface="Wingdings" panose="05000000000000000000" pitchFamily="2" charset="2"/>
              <a:buChar char="q"/>
            </a:pPr>
            <a:r>
              <a:rPr lang="en-GB" dirty="0"/>
              <a:t>Get your pen and answer multiple choice questions you have just received </a:t>
            </a:r>
            <a:r>
              <a:rPr lang="en-GB" dirty="0">
                <a:sym typeface="Wingdings" panose="05000000000000000000" pitchFamily="2" charset="2"/>
              </a:rPr>
              <a:t></a:t>
            </a:r>
            <a:endParaRPr lang="en-GB" dirty="0"/>
          </a:p>
          <a:p>
            <a:pPr marL="0" indent="0">
              <a:buNone/>
            </a:pPr>
            <a:endParaRPr lang="en-US" b="1" u="sng" dirty="0"/>
          </a:p>
          <a:p>
            <a:pPr marL="0" indent="0">
              <a:buNone/>
            </a:pPr>
            <a:endParaRPr lang="en-US" b="1" u="sng" dirty="0"/>
          </a:p>
          <a:p>
            <a:pPr marL="0" indent="0">
              <a:buNone/>
            </a:pPr>
            <a:endParaRPr lang="en-US" b="1" u="sng" dirty="0"/>
          </a:p>
          <a:p>
            <a:pPr marL="0" indent="0">
              <a:buNone/>
            </a:pPr>
            <a:endParaRPr lang="en-GB" b="1" u="sng" dirty="0"/>
          </a:p>
          <a:p>
            <a:pPr>
              <a:buFont typeface="Wingdings" panose="05000000000000000000" pitchFamily="2" charset="2"/>
              <a:buChar char="q"/>
            </a:pPr>
            <a:endParaRPr lang="en-US" b="1" u="sng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493ECF-84F9-4146-AA77-A22391058734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/>
              <a:t>IT Deep Dive l September 2018</a:t>
            </a:r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56021C-2311-4F29-9A31-77FC68C47B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noProof="0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35C023D-8A7C-4DE8-B16A-15B811CC4C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84168" y="2787774"/>
            <a:ext cx="1440160" cy="144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4786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7914FF-BDF3-47AA-9E6E-DA0EE6400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tabLst>
                <a:tab pos="8431213" algn="r"/>
              </a:tabLst>
            </a:pPr>
            <a:r>
              <a:rPr lang="en-GB" sz="2000" dirty="0"/>
              <a:t>Stage 1 – Register your tea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BD46C6-60BC-4672-BD2E-72CC100B9C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1200" dirty="0"/>
              <a:t>via HTTP POST on </a:t>
            </a:r>
            <a:r>
              <a:rPr lang="en-GB" sz="1200" b="1" dirty="0">
                <a:latin typeface="Calibri" panose="020F0502020204030204" pitchFamily="34" charset="0"/>
                <a:cs typeface="Calibri" panose="020F0502020204030204" pitchFamily="34" charset="0"/>
              </a:rPr>
              <a:t>http://192.168.0.110:8080/api/teams</a:t>
            </a:r>
            <a:endParaRPr lang="en-GB" sz="12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5C05EB-1E4D-4E17-A2EF-E7FB6CCA96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u="sng" dirty="0">
                <a:latin typeface="Calibri" panose="020F0502020204030204" pitchFamily="34" charset="0"/>
                <a:cs typeface="Calibri" panose="020F0502020204030204" pitchFamily="34" charset="0"/>
              </a:rPr>
              <a:t>Sample JSON Request</a:t>
            </a:r>
          </a:p>
          <a:p>
            <a:pPr marL="0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{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b="1" dirty="0" err="1">
                <a:solidFill>
                  <a:srgbClr val="7030A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Name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 : "</a:t>
            </a:r>
            <a:r>
              <a:rPr lang="en-US" sz="1000" b="1" i="1" dirty="0">
                <a:solidFill>
                  <a:srgbClr val="7030A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eam Team 4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,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b="1" dirty="0" err="1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entIpAddress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 : "</a:t>
            </a:r>
            <a:r>
              <a:rPr lang="en-US" sz="1000" b="1" i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2.168.0.240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,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“</a:t>
            </a:r>
            <a:r>
              <a:rPr lang="en-US" sz="10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rt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” : “</a:t>
            </a:r>
            <a:r>
              <a:rPr lang="en-US" sz="1000" b="1" i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090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”,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b="1" i="1" dirty="0" err="1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MemberOneName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 : "</a:t>
            </a:r>
            <a:r>
              <a:rPr lang="en-US" sz="1000" b="1" i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co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,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b="1" dirty="0" err="1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MemberOneRole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 : "</a:t>
            </a:r>
            <a:r>
              <a:rPr lang="en-US" sz="1000" b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W Engineer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,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b="1" dirty="0" err="1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MemberTwoName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 : “</a:t>
            </a:r>
            <a:r>
              <a:rPr lang="en-US" sz="1000" b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evhen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,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b="1" dirty="0" err="1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MemberTwoRole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 : "</a:t>
            </a:r>
            <a:r>
              <a:rPr lang="en-US" sz="1000" b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W Engineer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,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b="1" dirty="0" err="1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MemberThreeName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 : "</a:t>
            </a:r>
            <a:r>
              <a:rPr lang="en-US" sz="1000" b="1" i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uis-Philippe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,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b="1" dirty="0" err="1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MemberThreeRole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 : "</a:t>
            </a:r>
            <a:r>
              <a:rPr lang="en-US" sz="1000" b="1" i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</a:t>
            </a:r>
            <a:r>
              <a:rPr lang="en-US" sz="1000" b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alyst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,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b="1" dirty="0" err="1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MemberFourName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 : "</a:t>
            </a:r>
            <a:r>
              <a:rPr lang="en-US" sz="1000" b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on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,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b="1" dirty="0" err="1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MemberFourRole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 : "</a:t>
            </a:r>
            <a:r>
              <a:rPr lang="en-US" sz="1000" b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00" b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alyst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,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b="1" dirty="0" err="1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MemberFiveName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 : “</a:t>
            </a:r>
            <a:r>
              <a:rPr lang="en-US" sz="1000" b="1" i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nstantinos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,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b="1" dirty="0" err="1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MemberFiveRole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 : "</a:t>
            </a:r>
            <a:r>
              <a:rPr lang="en-US" sz="1000" b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server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</a:p>
          <a:p>
            <a:pPr marL="0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} </a:t>
            </a:r>
          </a:p>
          <a:p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Tip: Swagger file can be found on </a:t>
            </a:r>
            <a:r>
              <a:rPr lang="en-GB" b="1" dirty="0">
                <a:latin typeface="Calibri" panose="020F0502020204030204" pitchFamily="34" charset="0"/>
                <a:cs typeface="Calibri" panose="020F0502020204030204" pitchFamily="34" charset="0"/>
              </a:rPr>
              <a:t>GitHub</a:t>
            </a:r>
          </a:p>
          <a:p>
            <a:pPr marL="0" indent="0">
              <a:buNone/>
            </a:pPr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GB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GB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GB" sz="1400" dirty="0"/>
          </a:p>
          <a:p>
            <a:pPr marL="0" indent="0">
              <a:buNone/>
            </a:pPr>
            <a:endParaRPr lang="en-GB" sz="1400" dirty="0"/>
          </a:p>
          <a:p>
            <a:pPr marL="0" indent="0">
              <a:buNone/>
            </a:pPr>
            <a:endParaRPr lang="en-GB" sz="140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F6275E-3EC5-4692-9442-26F16A1E47F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dirty="0"/>
              <a:t>Job Selection Hackathon Game l March 2019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866C337-0999-4B42-AABE-6276F07F695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55270A-B713-4E42-9273-6D7A60F2CD66}"/>
              </a:ext>
            </a:extLst>
          </p:cNvPr>
          <p:cNvSpPr/>
          <p:nvPr/>
        </p:nvSpPr>
        <p:spPr>
          <a:xfrm>
            <a:off x="5148064" y="1847120"/>
            <a:ext cx="3600400" cy="485668"/>
          </a:xfrm>
          <a:prstGeom prst="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pefully, you have chosen</a:t>
            </a:r>
          </a:p>
          <a:p>
            <a:pPr algn="ctr"/>
            <a:r>
              <a:rPr lang="en-US" dirty="0"/>
              <a:t>a cool team name </a:t>
            </a:r>
            <a:r>
              <a:rPr lang="en-US" dirty="0">
                <a:sym typeface="Wingdings" panose="05000000000000000000" pitchFamily="2" charset="2"/>
              </a:rPr>
              <a:t>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2DCF29-7FF1-401D-ADB8-55003D9135F9}"/>
              </a:ext>
            </a:extLst>
          </p:cNvPr>
          <p:cNvSpPr/>
          <p:nvPr/>
        </p:nvSpPr>
        <p:spPr>
          <a:xfrm>
            <a:off x="5148064" y="3526242"/>
            <a:ext cx="3600400" cy="485668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ister members &amp; roles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972ACF-58E8-4AA4-A980-80093D8E569D}"/>
              </a:ext>
            </a:extLst>
          </p:cNvPr>
          <p:cNvSpPr/>
          <p:nvPr/>
        </p:nvSpPr>
        <p:spPr>
          <a:xfrm>
            <a:off x="5148064" y="2686681"/>
            <a:ext cx="3600400" cy="485668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ouble check your IP address &amp; port !!!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01148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7914FF-BDF3-47AA-9E6E-DA0EE6400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tabLst>
                <a:tab pos="8431213" algn="r"/>
              </a:tabLst>
            </a:pPr>
            <a:r>
              <a:rPr lang="en-GB" sz="2000" dirty="0"/>
              <a:t>Stage 1 – Register your tea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BD46C6-60BC-4672-BD2E-72CC100B9C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1200" dirty="0"/>
              <a:t>via HTTP POST on </a:t>
            </a:r>
            <a:r>
              <a:rPr lang="en-GB" sz="1200" b="1" dirty="0">
                <a:latin typeface="Calibri" panose="020F0502020204030204" pitchFamily="34" charset="0"/>
                <a:cs typeface="Calibri" panose="020F0502020204030204" pitchFamily="34" charset="0"/>
              </a:rPr>
              <a:t>http://192.168.0.110:8080/api/teams</a:t>
            </a:r>
            <a:endParaRPr lang="en-GB" sz="12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5C05EB-1E4D-4E17-A2EF-E7FB6CCA96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u="sng" dirty="0">
                <a:latin typeface="Calibri" panose="020F0502020204030204" pitchFamily="34" charset="0"/>
                <a:cs typeface="Calibri" panose="020F0502020204030204" pitchFamily="34" charset="0"/>
              </a:rPr>
              <a:t>Sample JSON Response</a:t>
            </a:r>
          </a:p>
          <a:p>
            <a:pPr marL="0" indent="0">
              <a:buNone/>
            </a:pP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{</a:t>
            </a:r>
          </a:p>
          <a:p>
            <a:pPr marL="315915" lvl="1" indent="0">
              <a:buNone/>
            </a:pP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b="1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Name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 : "</a:t>
            </a:r>
            <a:r>
              <a:rPr lang="en-US" sz="1000" b="1" i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eam Team 4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,</a:t>
            </a:r>
          </a:p>
          <a:p>
            <a:pPr marL="315915" lvl="1" indent="0">
              <a:buNone/>
            </a:pP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b="1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entIpAddress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 : "</a:t>
            </a:r>
            <a:r>
              <a:rPr lang="en-US" sz="1000" b="1" i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2.168.0.240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,</a:t>
            </a:r>
          </a:p>
          <a:p>
            <a:pPr marL="315915" lvl="1" indent="0">
              <a:buNone/>
            </a:pP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</a:t>
            </a:r>
            <a:r>
              <a:rPr lang="en-US" sz="10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rt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” : “</a:t>
            </a:r>
            <a:r>
              <a:rPr lang="en-US" sz="1000" b="1" i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090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”,</a:t>
            </a:r>
          </a:p>
          <a:p>
            <a:pPr marL="315915" lvl="1" indent="0">
              <a:buNone/>
            </a:pP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b="1" i="1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MemberOneName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 : "</a:t>
            </a:r>
            <a:r>
              <a:rPr lang="en-US" sz="1000" b="1" i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co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,</a:t>
            </a:r>
          </a:p>
          <a:p>
            <a:pPr marL="315915" lvl="1" indent="0">
              <a:buNone/>
            </a:pP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b="1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MemberOneRole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 : "</a:t>
            </a:r>
            <a:r>
              <a:rPr lang="en-US" sz="10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W Engineer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,</a:t>
            </a:r>
          </a:p>
          <a:p>
            <a:pPr marL="315915" lvl="1" indent="0">
              <a:buNone/>
            </a:pP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b="1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MemberTwoName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 : “</a:t>
            </a:r>
            <a:r>
              <a:rPr lang="en-US" sz="10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evhen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,</a:t>
            </a:r>
          </a:p>
          <a:p>
            <a:pPr marL="315915" lvl="1" indent="0">
              <a:buNone/>
            </a:pP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b="1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MemberTwoRole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 : "</a:t>
            </a:r>
            <a:r>
              <a:rPr lang="en-US" sz="10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W Engineer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,</a:t>
            </a:r>
          </a:p>
          <a:p>
            <a:pPr marL="315915" lvl="1" indent="0">
              <a:buNone/>
            </a:pP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b="1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MemberThreeName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 : "</a:t>
            </a:r>
            <a:r>
              <a:rPr lang="en-US" sz="1000" b="1" i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uis-Philippe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,</a:t>
            </a:r>
          </a:p>
          <a:p>
            <a:pPr marL="315915" lvl="1" indent="0">
              <a:buNone/>
            </a:pP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b="1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MemberThreeRole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 : "</a:t>
            </a:r>
            <a:r>
              <a:rPr lang="en-US" sz="1000" b="1" i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</a:t>
            </a:r>
            <a:r>
              <a:rPr lang="en-US" sz="10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alyst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,</a:t>
            </a:r>
          </a:p>
          <a:p>
            <a:pPr marL="315915" lvl="1" indent="0">
              <a:buNone/>
            </a:pP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b="1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MemberFourName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 : "</a:t>
            </a:r>
            <a:r>
              <a:rPr lang="en-US" sz="10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on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,</a:t>
            </a:r>
          </a:p>
          <a:p>
            <a:pPr marL="315915" lvl="1" indent="0">
              <a:buNone/>
            </a:pP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b="1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MemberFourRole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 : "</a:t>
            </a:r>
            <a:r>
              <a:rPr lang="en-US" sz="10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alyst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,</a:t>
            </a:r>
          </a:p>
          <a:p>
            <a:pPr marL="315915" lvl="1" indent="0">
              <a:buNone/>
            </a:pP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b="1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MemberFiveName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 : “</a:t>
            </a:r>
            <a:r>
              <a:rPr lang="en-US" sz="1000" b="1" i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nstantinos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,</a:t>
            </a:r>
          </a:p>
          <a:p>
            <a:pPr marL="315915" lvl="1" indent="0">
              <a:buNone/>
            </a:pP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b="1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MemberFiveRole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" : "</a:t>
            </a:r>
            <a:r>
              <a:rPr lang="en-US" sz="10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server</a:t>
            </a:r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</a:t>
            </a:r>
          </a:p>
          <a:p>
            <a:pPr marL="315915" lvl="1" indent="0">
              <a:buNone/>
            </a:pPr>
            <a:endParaRPr lang="en-US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15915" lvl="1" indent="0">
              <a:buNone/>
            </a:pPr>
            <a:r>
              <a:rPr lang="en-US" sz="10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</a:t>
            </a:r>
            <a:r>
              <a:rPr lang="en-US" sz="1000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UUID</a:t>
            </a:r>
            <a:r>
              <a:rPr lang="en-US" sz="10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” : “your team ID”</a:t>
            </a:r>
          </a:p>
          <a:p>
            <a:pPr marL="0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} </a:t>
            </a:r>
          </a:p>
          <a:p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GB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GB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GB" sz="1400" dirty="0"/>
          </a:p>
          <a:p>
            <a:pPr marL="0" indent="0">
              <a:buNone/>
            </a:pPr>
            <a:endParaRPr lang="en-GB" sz="1400" dirty="0"/>
          </a:p>
          <a:p>
            <a:pPr marL="0" indent="0">
              <a:buNone/>
            </a:pPr>
            <a:endParaRPr lang="en-GB" sz="140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F6275E-3EC5-4692-9442-26F16A1E47F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dirty="0"/>
              <a:t>Job Selection Hackathon Game l March 2019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866C337-0999-4B42-AABE-6276F07F695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9B9C0CF-8B13-4583-8F85-F55663F8F509}"/>
              </a:ext>
            </a:extLst>
          </p:cNvPr>
          <p:cNvSpPr/>
          <p:nvPr/>
        </p:nvSpPr>
        <p:spPr>
          <a:xfrm>
            <a:off x="4564413" y="3787509"/>
            <a:ext cx="3384376" cy="703902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/>
              <a:t>This is your team ID for the next stages</a:t>
            </a:r>
          </a:p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70452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7914FF-BDF3-47AA-9E6E-DA0EE6400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tabLst>
                <a:tab pos="8431213" algn="r"/>
              </a:tabLst>
            </a:pPr>
            <a:r>
              <a:rPr lang="en-GB" sz="2000" dirty="0"/>
              <a:t>Stage 2 – Retrieve BA questions 9 &amp; 10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BD46C6-60BC-4672-BD2E-72CC100B9C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1200" dirty="0"/>
              <a:t>Via HTTP GET on </a:t>
            </a:r>
            <a:r>
              <a:rPr lang="en-GB" sz="1200" b="1" dirty="0">
                <a:latin typeface="Calibri" panose="020F0502020204030204" pitchFamily="34" charset="0"/>
                <a:cs typeface="Calibri" panose="020F0502020204030204" pitchFamily="34" charset="0"/>
              </a:rPr>
              <a:t>http://192.168.0.110:8080/api/oracle/requirement/{teamID}</a:t>
            </a:r>
            <a:r>
              <a:rPr lang="en-US" sz="1200" b="1" dirty="0"/>
              <a:t> </a:t>
            </a:r>
            <a:endParaRPr lang="en-GB" sz="1200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5C05EB-1E4D-4E17-A2EF-E7FB6CCA96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u="sng" dirty="0">
                <a:latin typeface="Calibri" panose="020F0502020204030204" pitchFamily="34" charset="0"/>
                <a:cs typeface="Calibri" panose="020F0502020204030204" pitchFamily="34" charset="0"/>
              </a:rPr>
              <a:t>Sample JSON Response</a:t>
            </a:r>
          </a:p>
          <a:p>
            <a:pPr marL="0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[</a:t>
            </a:r>
          </a:p>
          <a:p>
            <a:pPr marL="0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   {</a:t>
            </a:r>
          </a:p>
          <a:p>
            <a:pPr marL="315915" lvl="1" indent="0">
              <a:buNone/>
            </a:pPr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   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  <a:r>
              <a:rPr lang="en-US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questionNumber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 : “9",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   “question” : “What BA stands for?”,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   “</a:t>
            </a:r>
            <a:r>
              <a:rPr lang="en-US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answerA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 : "Business Analyst",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   “</a:t>
            </a:r>
            <a:r>
              <a:rPr lang="en-US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answerB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 : "System Analyst",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   “</a:t>
            </a:r>
            <a:r>
              <a:rPr lang="en-US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answerC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 : "Software Engineer",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   “</a:t>
            </a:r>
            <a:r>
              <a:rPr lang="en-US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answerD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 : "Solution Architect"</a:t>
            </a:r>
          </a:p>
          <a:p>
            <a:pPr marL="0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   },</a:t>
            </a:r>
          </a:p>
          <a:p>
            <a:pPr marL="0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   {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   "</a:t>
            </a:r>
            <a:r>
              <a:rPr lang="en-US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questionNumber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" : “10",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   “question” : “How is the weather today?”,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   " </a:t>
            </a:r>
            <a:r>
              <a:rPr lang="en-US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answerA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" : "rainy",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   " </a:t>
            </a:r>
            <a:r>
              <a:rPr lang="en-US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answerB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" : "sunny",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   " </a:t>
            </a:r>
            <a:r>
              <a:rPr lang="en-US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answerC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" : "snowy",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   " </a:t>
            </a:r>
            <a:r>
              <a:rPr lang="en-US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answerD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" : "cloudy"</a:t>
            </a:r>
          </a:p>
          <a:p>
            <a:pPr marL="0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   }</a:t>
            </a:r>
          </a:p>
          <a:p>
            <a:pPr marL="0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]</a:t>
            </a:r>
            <a:endParaRPr lang="en-GB" sz="1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F6275E-3EC5-4692-9442-26F16A1E47F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dirty="0"/>
              <a:t>Job Selection Hackathon Game l March 2019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866C337-0999-4B42-AABE-6276F07F695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189290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7914FF-BDF3-47AA-9E6E-DA0EE6400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tabLst>
                <a:tab pos="8431213" algn="r"/>
              </a:tabLst>
            </a:pPr>
            <a:r>
              <a:rPr lang="en-GB" sz="2000" dirty="0"/>
              <a:t>Stage 3 – Crazy Stuff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BD46C6-60BC-4672-BD2E-72CC100B9C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1200" dirty="0"/>
              <a:t>Expose your API (HTTP GET) on end point </a:t>
            </a:r>
            <a:r>
              <a:rPr lang="en-GB" sz="1200" b="1" dirty="0">
                <a:latin typeface="Calibri" panose="020F0502020204030204" pitchFamily="34" charset="0"/>
                <a:cs typeface="Calibri" panose="020F0502020204030204" pitchFamily="34" charset="0"/>
              </a:rPr>
              <a:t>http://client-ip-address:client-port/api/transform</a:t>
            </a:r>
            <a:r>
              <a:rPr lang="en-US" sz="1200" b="1" dirty="0"/>
              <a:t> </a:t>
            </a:r>
            <a:endParaRPr lang="en-GB" sz="12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5C05EB-1E4D-4E17-A2EF-E7FB6CCA96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Call </a:t>
            </a:r>
            <a:r>
              <a:rPr lang="en-GB" dirty="0">
                <a:solidFill>
                  <a:srgbClr val="00008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://192.168.0.110:8080/api/token/{teamID}</a:t>
            </a:r>
            <a:r>
              <a:rPr lang="en-US" dirty="0">
                <a:solidFill>
                  <a:srgbClr val="00008F"/>
                </a:solidFill>
              </a:rPr>
              <a:t>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o get </a:t>
            </a: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base 64 encoded byte array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asks to perform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ecode the byte array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ecoded string follows pattern 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YYYYMMDD</a:t>
            </a:r>
            <a:r>
              <a:rPr lang="en-US" i="1" dirty="0">
                <a:latin typeface="Calibri" panose="020F0502020204030204" pitchFamily="34" charset="0"/>
                <a:cs typeface="Calibri" panose="020F0502020204030204" pitchFamily="34" charset="0"/>
              </a:rPr>
              <a:t>1n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i="1" dirty="0">
                <a:latin typeface="Calibri" panose="020F0502020204030204" pitchFamily="34" charset="0"/>
                <a:cs typeface="Calibri" panose="020F0502020204030204" pitchFamily="34" charset="0"/>
              </a:rPr>
              <a:t>1n is an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undefined number of random alphanumeric character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Extract date and reformat to DDMMYYYY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unt number of digits after the dat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dentify most frequent digit after the date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b="1" u="sng" dirty="0">
                <a:latin typeface="Calibri" panose="020F0502020204030204" pitchFamily="34" charset="0"/>
                <a:cs typeface="Calibri" panose="020F0502020204030204" pitchFamily="34" charset="0"/>
              </a:rPr>
              <a:t>Sample JSON Response</a:t>
            </a:r>
          </a:p>
          <a:p>
            <a:pPr marL="0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{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“</a:t>
            </a:r>
            <a:r>
              <a:rPr lang="en-US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reversedDate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”: “27032019”,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“</a:t>
            </a:r>
            <a:r>
              <a:rPr lang="en-US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digitCount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”: 2345,</a:t>
            </a:r>
          </a:p>
          <a:p>
            <a:pPr marL="315915" lvl="1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“</a:t>
            </a:r>
            <a:r>
              <a:rPr lang="en-US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mostFrequentDigit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”: 2</a:t>
            </a:r>
          </a:p>
          <a:p>
            <a:pPr marL="0" indent="0">
              <a:buNone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}</a:t>
            </a:r>
          </a:p>
          <a:p>
            <a:pPr marL="0" indent="0">
              <a:buNone/>
            </a:pPr>
            <a:endParaRPr lang="en-GB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GB" sz="1400" dirty="0"/>
          </a:p>
          <a:p>
            <a:pPr marL="0" indent="0">
              <a:buNone/>
            </a:pPr>
            <a:endParaRPr lang="en-GB" sz="1400" dirty="0"/>
          </a:p>
          <a:p>
            <a:endParaRPr lang="en-GB" sz="140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F6275E-3EC5-4692-9442-26F16A1E47F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dirty="0"/>
              <a:t>Job Selection Hackathon Game l March 2019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866C337-0999-4B42-AABE-6276F07F695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524479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7914FF-BDF3-47AA-9E6E-DA0EE6400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tabLst>
                <a:tab pos="8431213" algn="r"/>
              </a:tabLst>
            </a:pPr>
            <a:r>
              <a:rPr lang="en-GB" sz="2000" dirty="0"/>
              <a:t>Stage 4 – Register BA quiz answers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BD46C6-60BC-4672-BD2E-72CC100B9C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1200" dirty="0"/>
              <a:t>via HTTP POST on </a:t>
            </a:r>
            <a:r>
              <a:rPr lang="en-GB" sz="1200" b="1" dirty="0">
                <a:latin typeface="Calibri" panose="020F0502020204030204" pitchFamily="34" charset="0"/>
                <a:cs typeface="Calibri" panose="020F0502020204030204" pitchFamily="34" charset="0"/>
              </a:rPr>
              <a:t>http://192.168.0.110:8080/api/publish/answers/{teamID}</a:t>
            </a:r>
            <a:endParaRPr lang="en-GB" sz="12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5C05EB-1E4D-4E17-A2EF-E7FB6CCA96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18123" lvl="1" indent="0">
              <a:buNone/>
            </a:pPr>
            <a:endParaRPr lang="en-GB" sz="1200" dirty="0"/>
          </a:p>
          <a:p>
            <a:pPr marL="0" indent="0">
              <a:buNone/>
            </a:pPr>
            <a:r>
              <a:rPr lang="en-GB" b="1" u="sng" dirty="0">
                <a:latin typeface="Calibri" panose="020F0502020204030204" pitchFamily="34" charset="0"/>
                <a:cs typeface="Calibri" panose="020F0502020204030204" pitchFamily="34" charset="0"/>
              </a:rPr>
              <a:t>Sample JSON Request</a:t>
            </a:r>
          </a:p>
          <a:p>
            <a:endParaRPr 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{</a:t>
            </a:r>
          </a:p>
          <a:p>
            <a:pPr marL="315915" lvl="1" indent="0">
              <a:buNone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"question1Answer": “P”,</a:t>
            </a:r>
          </a:p>
          <a:p>
            <a:pPr marL="315915" lvl="1" indent="0">
              <a:buNone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"question2Answer": “L”,</a:t>
            </a:r>
          </a:p>
          <a:p>
            <a:pPr marL="315915" lvl="1" indent="0">
              <a:buNone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"question3Answer": “H”,</a:t>
            </a:r>
          </a:p>
          <a:p>
            <a:pPr marL="315915" lvl="1" indent="0">
              <a:buNone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"question4Answer": “V”,</a:t>
            </a:r>
          </a:p>
          <a:p>
            <a:pPr marL="315915" lvl="1" indent="0">
              <a:buNone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"question5Answer": “W”,</a:t>
            </a:r>
          </a:p>
          <a:p>
            <a:pPr marL="315915" lvl="1" indent="0">
              <a:buNone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"question6Answer": “Q”,</a:t>
            </a:r>
          </a:p>
          <a:p>
            <a:pPr marL="315915" lvl="1" indent="0">
              <a:buNone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"question7Answer": “Z”,</a:t>
            </a:r>
          </a:p>
          <a:p>
            <a:pPr marL="315915" lvl="1" indent="0">
              <a:buNone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"question8Answer": “R”,</a:t>
            </a:r>
          </a:p>
          <a:p>
            <a:pPr marL="315915" lvl="1" indent="0">
              <a:buNone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"question9Answer": “U”,</a:t>
            </a:r>
          </a:p>
          <a:p>
            <a:pPr marL="315915" lvl="1" indent="0">
              <a:buNone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"question10Answer": “S”</a:t>
            </a:r>
          </a:p>
          <a:p>
            <a:pPr marL="0" indent="0">
              <a:buNone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}</a:t>
            </a:r>
          </a:p>
          <a:p>
            <a:pPr marL="0" indent="0">
              <a:buNone/>
            </a:pPr>
            <a:endParaRPr lang="en-GB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GB" sz="1400" dirty="0"/>
          </a:p>
          <a:p>
            <a:pPr marL="0" indent="0">
              <a:buNone/>
            </a:pPr>
            <a:endParaRPr lang="en-GB" sz="1400" dirty="0"/>
          </a:p>
          <a:p>
            <a:endParaRPr lang="en-GB" sz="140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F6275E-3EC5-4692-9442-26F16A1E47F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dirty="0"/>
              <a:t>Job Selection Hackathon Game l March 2019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866C337-0999-4B42-AABE-6276F07F695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703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xa">
  <a:themeElements>
    <a:clrScheme name="AXA Charte PPT">
      <a:dk1>
        <a:sysClr val="windowText" lastClr="000000"/>
      </a:dk1>
      <a:lt1>
        <a:sysClr val="window" lastClr="FFFFFF"/>
      </a:lt1>
      <a:dk2>
        <a:srgbClr val="00008F"/>
      </a:dk2>
      <a:lt2>
        <a:srgbClr val="FCD385"/>
      </a:lt2>
      <a:accent1>
        <a:srgbClr val="027180"/>
      </a:accent1>
      <a:accent2>
        <a:srgbClr val="E196AA"/>
      </a:accent2>
      <a:accent3>
        <a:srgbClr val="00AEC6"/>
      </a:accent3>
      <a:accent4>
        <a:srgbClr val="914146"/>
      </a:accent4>
      <a:accent5>
        <a:srgbClr val="343C3D"/>
      </a:accent5>
      <a:accent6>
        <a:srgbClr val="B5D0EE"/>
      </a:accent6>
      <a:hlink>
        <a:srgbClr val="00008F"/>
      </a:hlink>
      <a:folHlink>
        <a:srgbClr val="BFBFBF"/>
      </a:folHlink>
    </a:clrScheme>
    <a:fontScheme name="charte PPT Axa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none" lIns="0" tIns="0" rIns="0" bIns="0" rtlCol="0" anchor="b">
        <a:spAutoFit/>
      </a:bodyPr>
      <a:lstStyle>
        <a:defPPr eaLnBrk="1" hangingPunct="1">
          <a:defRPr sz="1600" dirty="0" err="1" smtClean="0">
            <a:solidFill>
              <a:srgbClr val="404040"/>
            </a:solidFill>
            <a:latin typeface="+mj-lt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41_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">
          <a:headEnd type="triangle"/>
          <a:tailEnd type="triangle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2_Template+PPT+AXA+-+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60195DB6B83354BAED153167BB737BB" ma:contentTypeVersion="43" ma:contentTypeDescription="Create a new document." ma:contentTypeScope="" ma:versionID="a7a2e22c1175a37317332cfe4a1b316d">
  <xsd:schema xmlns:xsd="http://www.w3.org/2001/XMLSchema" xmlns:xs="http://www.w3.org/2001/XMLSchema" xmlns:p="http://schemas.microsoft.com/office/2006/metadata/properties" xmlns:ns1="http://schemas.microsoft.com/sharepoint/v3" xmlns:ns2="55cd9fcc-0754-45b3-a262-bd75a884c40e" xmlns:ns3="0a7ef62d-4b99-4255-809a-d50161e2a417" xmlns:ns5="http://schemas.microsoft.com/sharepoint/v4" xmlns:ns6="099778ac-68f6-4568-9339-60b14251f340" targetNamespace="http://schemas.microsoft.com/office/2006/metadata/properties" ma:root="true" ma:fieldsID="c636887d25f8e8ea73fed2af4703c37e" ns1:_="" ns2:_="" ns3:_="" ns5:_="" ns6:_="">
    <xsd:import namespace="http://schemas.microsoft.com/sharepoint/v3"/>
    <xsd:import namespace="55cd9fcc-0754-45b3-a262-bd75a884c40e"/>
    <xsd:import namespace="0a7ef62d-4b99-4255-809a-d50161e2a417"/>
    <xsd:import namespace="http://schemas.microsoft.com/sharepoint/v4"/>
    <xsd:import namespace="099778ac-68f6-4568-9339-60b14251f340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Project" minOccurs="0"/>
                <xsd:element ref="ns3:DOC_x0020_Nature" minOccurs="0"/>
                <xsd:element ref="ns3:DOC_x0020_Status" minOccurs="0"/>
                <xsd:element ref="ns3:Baseline_x0020_Date" minOccurs="0"/>
                <xsd:element ref="ns2:SharedWithUsers" minOccurs="0"/>
                <xsd:element ref="ns2:SharedWithDetails" minOccurs="0"/>
                <xsd:element ref="ns5:IconOverlay" minOccurs="0"/>
                <xsd:element ref="ns6:MediaServiceMetadata" minOccurs="0"/>
                <xsd:element ref="ns6:MediaServiceFastMetadata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1" nillable="true" ma:displayName="Unified Compliance Policy Properties" ma:description="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nified Compliance Policy UI Action" ma:description="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cd9fcc-0754-45b3-a262-bd75a884c40e" elementFormDefault="qualified">
    <xsd:import namespace="http://schemas.microsoft.com/office/2006/documentManagement/types"/>
    <xsd:import namespace="http://schemas.microsoft.com/office/infopath/2007/PartnerControls"/>
    <xsd:element name="_dlc_DocId" ma:index="4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5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6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6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7ef62d-4b99-4255-809a-d50161e2a417" elementFormDefault="qualified">
    <xsd:import namespace="http://schemas.microsoft.com/office/2006/documentManagement/types"/>
    <xsd:import namespace="http://schemas.microsoft.com/office/infopath/2007/PartnerControls"/>
    <xsd:element name="Project" ma:index="7" nillable="true" ma:displayName="Project" ma:default="Weekly Report" ma:internalName="Project" ma:readOnly="false">
      <xsd:simpleType>
        <xsd:restriction base="dms:Text">
          <xsd:maxLength value="255"/>
        </xsd:restriction>
      </xsd:simpleType>
    </xsd:element>
    <xsd:element name="DOC_x0020_Nature" ma:index="9" nillable="true" ma:displayName="DOC Nature" ma:default="Work Document" ma:format="Dropdown" ma:internalName="DOC_x0020_Nature" ma:readOnly="false">
      <xsd:simpleType>
        <xsd:restriction base="dms:Choice">
          <xsd:enumeration value="Work Document"/>
          <xsd:enumeration value="Documentation"/>
          <xsd:enumeration value="Deliverable"/>
        </xsd:restriction>
      </xsd:simpleType>
    </xsd:element>
    <xsd:element name="DOC_x0020_Status" ma:index="10" nillable="true" ma:displayName="DOC Status" ma:default="1. Draft" ma:format="Dropdown" ma:internalName="DOC_x0020_Status" ma:readOnly="false">
      <xsd:simpleType>
        <xsd:restriction base="dms:Choice">
          <xsd:enumeration value="1. Draft"/>
          <xsd:enumeration value="2. Stable Draft"/>
          <xsd:enumeration value="3. Approved"/>
          <xsd:enumeration value="4. Finalized"/>
        </xsd:restriction>
      </xsd:simpleType>
    </xsd:element>
    <xsd:element name="Baseline_x0020_Date" ma:index="11" nillable="true" ma:displayName="Baseline Date" ma:format="DateOnly" ma:internalName="Baseline_x0020_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8" nillable="true" ma:displayName="IconOverlay" ma:hidden="true" ma:internalName="IconOverlay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9778ac-68f6-4568-9339-60b14251f3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9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20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Content Type"/>
        <xsd:element ref="dc:title" minOccurs="0" maxOccurs="1" ma:index="3" ma:displayName="Title"/>
        <xsd:element ref="dc:subject" minOccurs="0" maxOccurs="1" ma:index="8" ma:displayName="Subject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aseline_x0020_Date xmlns="0a7ef62d-4b99-4255-809a-d50161e2a417" xsi:nil="true"/>
    <_ip_UnifiedCompliancePolicyUIAction xmlns="http://schemas.microsoft.com/sharepoint/v3" xsi:nil="true"/>
    <IconOverlay xmlns="http://schemas.microsoft.com/sharepoint/v4" xsi:nil="true"/>
    <Project xmlns="0a7ef62d-4b99-4255-809a-d50161e2a417">Weekly Report</Project>
    <_ip_UnifiedCompliancePolicyProperties xmlns="http://schemas.microsoft.com/sharepoint/v3" xsi:nil="true"/>
    <DOC_x0020_Status xmlns="0a7ef62d-4b99-4255-809a-d50161e2a417">1. Draft</DOC_x0020_Status>
    <DOC_x0020_Nature xmlns="0a7ef62d-4b99-4255-809a-d50161e2a417">Work Document</DOC_x0020_Nature>
    <SharedWithUsers xmlns="55cd9fcc-0754-45b3-a262-bd75a884c40e">
      <UserInfo>
        <DisplayName>FAIDHERBE Dominique</DisplayName>
        <AccountId>1425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/>
</file>

<file path=customXml/itemProps1.xml><?xml version="1.0" encoding="utf-8"?>
<ds:datastoreItem xmlns:ds="http://schemas.openxmlformats.org/officeDocument/2006/customXml" ds:itemID="{B29CFE7E-1105-451B-9B79-9E4E0695E8F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5cd9fcc-0754-45b3-a262-bd75a884c40e"/>
    <ds:schemaRef ds:uri="0a7ef62d-4b99-4255-809a-d50161e2a417"/>
    <ds:schemaRef ds:uri="http://schemas.microsoft.com/sharepoint/v4"/>
    <ds:schemaRef ds:uri="099778ac-68f6-4568-9339-60b14251f3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936EB9D-E72F-462D-AF8F-319758A3BE78}">
  <ds:schemaRefs>
    <ds:schemaRef ds:uri="http://schemas.microsoft.com/sharepoint/v4"/>
    <ds:schemaRef ds:uri="http://purl.org/dc/terms/"/>
    <ds:schemaRef ds:uri="http://schemas.openxmlformats.org/package/2006/metadata/core-properties"/>
    <ds:schemaRef ds:uri="099778ac-68f6-4568-9339-60b14251f340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0a7ef62d-4b99-4255-809a-d50161e2a417"/>
    <ds:schemaRef ds:uri="55cd9fcc-0754-45b3-a262-bd75a884c40e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5771CBC-025D-4E98-A274-73C1B1346B08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0609FC1F-E8F7-4EB7-8270-1FB076E43849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221</TotalTime>
  <Words>821</Words>
  <Application>Microsoft Office PowerPoint</Application>
  <PresentationFormat>On-screen Show (16:9)</PresentationFormat>
  <Paragraphs>175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2" baseType="lpstr">
      <vt:lpstr>ＭＳ Ｐゴシック</vt:lpstr>
      <vt:lpstr>Arial</vt:lpstr>
      <vt:lpstr>Calibri</vt:lpstr>
      <vt:lpstr>Century Gothic</vt:lpstr>
      <vt:lpstr>Lucida Grande</vt:lpstr>
      <vt:lpstr>Open Sans</vt:lpstr>
      <vt:lpstr>Source Sans Pro</vt:lpstr>
      <vt:lpstr>Wingdings</vt:lpstr>
      <vt:lpstr>Axa</vt:lpstr>
      <vt:lpstr>41_template_PPT_AXA_EN</vt:lpstr>
      <vt:lpstr>template_PPT_AXA_EN</vt:lpstr>
      <vt:lpstr>12_Template+PPT+AXA+-+EN</vt:lpstr>
      <vt:lpstr>think-cell Slide</vt:lpstr>
      <vt:lpstr>    Job Selection Hackathon game     </vt:lpstr>
      <vt:lpstr>What is it about?</vt:lpstr>
      <vt:lpstr>Get to know your team</vt:lpstr>
      <vt:lpstr>Get prepared</vt:lpstr>
      <vt:lpstr>Stage 1 – Register your team</vt:lpstr>
      <vt:lpstr>Stage 1 – Register your team</vt:lpstr>
      <vt:lpstr>Stage 2 – Retrieve BA questions 9 &amp; 10</vt:lpstr>
      <vt:lpstr>Stage 3 – Crazy Stuff</vt:lpstr>
      <vt:lpstr>Stage 4 – Register BA quiz answer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XA_charte-PPT</dc:title>
  <dc:creator>Carlo Van de Sompel</dc:creator>
  <cp:lastModifiedBy>Kris VAN IMPE</cp:lastModifiedBy>
  <cp:revision>913</cp:revision>
  <cp:lastPrinted>2018-09-27T13:37:56Z</cp:lastPrinted>
  <dcterms:created xsi:type="dcterms:W3CDTF">2017-04-27T07:38:04Z</dcterms:created>
  <dcterms:modified xsi:type="dcterms:W3CDTF">2019-03-27T07:4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60195DB6B83354BAED153167BB737BB</vt:lpwstr>
  </property>
</Properties>
</file>